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theme/theme5.xml" ContentType="application/vnd.openxmlformats-officedocument.them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s/slide36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Masters/slideMaster6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Override PartName="/ppt/theme/theme4.xml" ContentType="application/vnd.openxmlformats-officedocument.theme+xml"/>
  <Default Extension="png" ContentType="image/png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tiff" ContentType="image/tiff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3" r:id="rId3"/>
    <p:sldMasterId id="2147483665" r:id="rId4"/>
    <p:sldMasterId id="2147483667" r:id="rId5"/>
    <p:sldMasterId id="2147483669" r:id="rId6"/>
  </p:sldMasterIdLst>
  <p:notesMasterIdLst>
    <p:notesMasterId r:id="rId51"/>
  </p:notesMasterIdLst>
  <p:sldIdLst>
    <p:sldId id="256" r:id="rId7"/>
    <p:sldId id="375" r:id="rId8"/>
    <p:sldId id="347" r:id="rId9"/>
    <p:sldId id="374" r:id="rId10"/>
    <p:sldId id="291" r:id="rId11"/>
    <p:sldId id="322" r:id="rId12"/>
    <p:sldId id="324" r:id="rId13"/>
    <p:sldId id="325" r:id="rId14"/>
    <p:sldId id="326" r:id="rId15"/>
    <p:sldId id="327" r:id="rId16"/>
    <p:sldId id="328" r:id="rId17"/>
    <p:sldId id="349" r:id="rId18"/>
    <p:sldId id="329" r:id="rId19"/>
    <p:sldId id="376" r:id="rId20"/>
    <p:sldId id="383" r:id="rId21"/>
    <p:sldId id="332" r:id="rId22"/>
    <p:sldId id="333" r:id="rId23"/>
    <p:sldId id="334" r:id="rId24"/>
    <p:sldId id="335" r:id="rId25"/>
    <p:sldId id="377" r:id="rId26"/>
    <p:sldId id="378" r:id="rId27"/>
    <p:sldId id="337" r:id="rId28"/>
    <p:sldId id="268" r:id="rId29"/>
    <p:sldId id="338" r:id="rId30"/>
    <p:sldId id="339" r:id="rId31"/>
    <p:sldId id="340" r:id="rId32"/>
    <p:sldId id="341" r:id="rId33"/>
    <p:sldId id="354" r:id="rId34"/>
    <p:sldId id="342" r:id="rId35"/>
    <p:sldId id="379" r:id="rId36"/>
    <p:sldId id="381" r:id="rId37"/>
    <p:sldId id="380" r:id="rId38"/>
    <p:sldId id="384" r:id="rId39"/>
    <p:sldId id="385" r:id="rId40"/>
    <p:sldId id="387" r:id="rId41"/>
    <p:sldId id="386" r:id="rId42"/>
    <p:sldId id="299" r:id="rId43"/>
    <p:sldId id="276" r:id="rId44"/>
    <p:sldId id="277" r:id="rId45"/>
    <p:sldId id="382" r:id="rId46"/>
    <p:sldId id="388" r:id="rId47"/>
    <p:sldId id="346" r:id="rId48"/>
    <p:sldId id="297" r:id="rId49"/>
    <p:sldId id="307" r:id="rId5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8897" autoAdjust="0"/>
    <p:restoredTop sz="94660"/>
  </p:normalViewPr>
  <p:slideViewPr>
    <p:cSldViewPr>
      <p:cViewPr varScale="1">
        <p:scale>
          <a:sx n="70" d="100"/>
          <a:sy n="70" d="100"/>
        </p:scale>
        <p:origin x="-630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8" Type="http://schemas.openxmlformats.org/officeDocument/2006/relationships/slide" Target="slides/slide2.xml"/><Relationship Id="rId51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62879C-F006-469A-AC31-6E16069DDAFC}" type="datetimeFigureOut">
              <a:rPr lang="en-US" smtClean="0"/>
              <a:pPr/>
              <a:t>13/04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C5B90B-5B2D-4F9A-A6B8-E7397E0B8D2D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BCE66-C4E9-420F-B362-17D7E113C0EF}" type="datetimeFigureOut">
              <a:rPr lang="en-US" smtClean="0"/>
              <a:pPr/>
              <a:t>13/04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6AAD0-69EA-42E7-B493-20FAC405ACC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BCE66-C4E9-420F-B362-17D7E113C0EF}" type="datetimeFigureOut">
              <a:rPr lang="en-US" smtClean="0"/>
              <a:pPr/>
              <a:t>13/04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6AAD0-69EA-42E7-B493-20FAC405ACC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BCE66-C4E9-420F-B362-17D7E113C0EF}" type="datetimeFigureOut">
              <a:rPr lang="en-US" smtClean="0"/>
              <a:pPr/>
              <a:t>13/04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6AAD0-69EA-42E7-B493-20FAC405ACC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D7BCE66-C4E9-420F-B362-17D7E113C0EF}" type="datetimeFigureOut">
              <a:rPr lang="en-US" smtClean="0"/>
              <a:pPr/>
              <a:t>13/04/2013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B16AAD0-69EA-42E7-B493-20FAC405ACC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D7BCE66-C4E9-420F-B362-17D7E113C0EF}" type="datetimeFigureOut">
              <a:rPr lang="en-US" smtClean="0"/>
              <a:pPr/>
              <a:t>13/04/2013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B16AAD0-69EA-42E7-B493-20FAC405ACC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D7BCE66-C4E9-420F-B362-17D7E113C0EF}" type="datetimeFigureOut">
              <a:rPr lang="en-US" smtClean="0"/>
              <a:pPr/>
              <a:t>13/04/2013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B16AAD0-69EA-42E7-B493-20FAC405ACC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BCE66-C4E9-420F-B362-17D7E113C0EF}" type="datetimeFigureOut">
              <a:rPr lang="en-US" smtClean="0"/>
              <a:pPr/>
              <a:t>13/04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6AAD0-69EA-42E7-B493-20FAC405ACC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BCE66-C4E9-420F-B362-17D7E113C0EF}" type="datetimeFigureOut">
              <a:rPr lang="en-US" smtClean="0"/>
              <a:pPr/>
              <a:t>13/04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6AAD0-69EA-42E7-B493-20FAC405ACC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BCE66-C4E9-420F-B362-17D7E113C0EF}" type="datetimeFigureOut">
              <a:rPr lang="en-US" smtClean="0"/>
              <a:pPr/>
              <a:t>13/04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6AAD0-69EA-42E7-B493-20FAC405ACC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BCE66-C4E9-420F-B362-17D7E113C0EF}" type="datetimeFigureOut">
              <a:rPr lang="en-US" smtClean="0"/>
              <a:pPr/>
              <a:t>13/04/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6AAD0-69EA-42E7-B493-20FAC405ACC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BCE66-C4E9-420F-B362-17D7E113C0EF}" type="datetimeFigureOut">
              <a:rPr lang="en-US" smtClean="0"/>
              <a:pPr/>
              <a:t>13/04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6AAD0-69EA-42E7-B493-20FAC405ACC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BCE66-C4E9-420F-B362-17D7E113C0EF}" type="datetimeFigureOut">
              <a:rPr lang="en-US" smtClean="0"/>
              <a:pPr/>
              <a:t>13/04/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6AAD0-69EA-42E7-B493-20FAC405ACC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BCE66-C4E9-420F-B362-17D7E113C0EF}" type="datetimeFigureOut">
              <a:rPr lang="en-US" smtClean="0"/>
              <a:pPr/>
              <a:t>13/04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6AAD0-69EA-42E7-B493-20FAC405ACC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BCE66-C4E9-420F-B362-17D7E113C0EF}" type="datetimeFigureOut">
              <a:rPr lang="en-US" smtClean="0"/>
              <a:pPr/>
              <a:t>13/04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6AAD0-69EA-42E7-B493-20FAC405ACC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 l="-14000" r="-1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7BCE66-C4E9-420F-B362-17D7E113C0EF}" type="datetimeFigureOut">
              <a:rPr lang="en-US" smtClean="0"/>
              <a:pPr/>
              <a:t>13/04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16AAD0-69EA-42E7-B493-20FAC405ACCA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72390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>
                <a:solidFill>
                  <a:srgbClr val="898989"/>
                </a:solidFill>
                <a:latin typeface="+mn-lt"/>
              </a:defRPr>
            </a:lvl1pPr>
          </a:lstStyle>
          <a:p>
            <a:fld id="{3D7BCE66-C4E9-420F-B362-17D7E113C0EF}" type="datetimeFigureOut">
              <a:rPr lang="en-US" smtClean="0"/>
              <a:pPr/>
              <a:t>13/04/2013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200">
                <a:solidFill>
                  <a:srgbClr val="898989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>
                <a:solidFill>
                  <a:srgbClr val="898989"/>
                </a:solidFill>
                <a:latin typeface="+mn-lt"/>
              </a:defRPr>
            </a:lvl1pPr>
          </a:lstStyle>
          <a:p>
            <a:fld id="{AB16AAD0-69EA-42E7-B493-20FAC405ACCA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72390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>
                <a:solidFill>
                  <a:srgbClr val="898989"/>
                </a:solidFill>
                <a:latin typeface="+mn-lt"/>
              </a:defRPr>
            </a:lvl1pPr>
          </a:lstStyle>
          <a:p>
            <a:fld id="{3D7BCE66-C4E9-420F-B362-17D7E113C0EF}" type="datetimeFigureOut">
              <a:rPr lang="en-US" smtClean="0"/>
              <a:pPr/>
              <a:t>13/04/2013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200">
                <a:solidFill>
                  <a:srgbClr val="898989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>
                <a:solidFill>
                  <a:srgbClr val="898989"/>
                </a:solidFill>
                <a:latin typeface="+mn-lt"/>
              </a:defRPr>
            </a:lvl1pPr>
          </a:lstStyle>
          <a:p>
            <a:fld id="{AB16AAD0-69EA-42E7-B493-20FAC405ACCA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72390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>
                <a:solidFill>
                  <a:srgbClr val="898989"/>
                </a:solidFill>
                <a:latin typeface="+mn-lt"/>
              </a:defRPr>
            </a:lvl1pPr>
          </a:lstStyle>
          <a:p>
            <a:fld id="{3D7BCE66-C4E9-420F-B362-17D7E113C0EF}" type="datetimeFigureOut">
              <a:rPr lang="en-US" smtClean="0"/>
              <a:pPr/>
              <a:t>13/04/2013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200">
                <a:solidFill>
                  <a:srgbClr val="898989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>
                <a:solidFill>
                  <a:srgbClr val="898989"/>
                </a:solidFill>
                <a:latin typeface="+mn-lt"/>
              </a:defRPr>
            </a:lvl1pPr>
          </a:lstStyle>
          <a:p>
            <a:fld id="{AB16AAD0-69EA-42E7-B493-20FAC405ACCA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72390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>
                <a:solidFill>
                  <a:srgbClr val="898989"/>
                </a:solidFill>
                <a:latin typeface="+mn-lt"/>
              </a:defRPr>
            </a:lvl1pPr>
          </a:lstStyle>
          <a:p>
            <a:fld id="{3D7BCE66-C4E9-420F-B362-17D7E113C0EF}" type="datetimeFigureOut">
              <a:rPr lang="en-US" smtClean="0"/>
              <a:pPr/>
              <a:t>13/04/2013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200">
                <a:solidFill>
                  <a:srgbClr val="898989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>
                <a:solidFill>
                  <a:srgbClr val="898989"/>
                </a:solidFill>
                <a:latin typeface="+mn-lt"/>
              </a:defRPr>
            </a:lvl1pPr>
          </a:lstStyle>
          <a:p>
            <a:fld id="{AB16AAD0-69EA-42E7-B493-20FAC405ACCA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72390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200">
                <a:solidFill>
                  <a:srgbClr val="898989"/>
                </a:solidFill>
                <a:latin typeface="+mn-lt"/>
              </a:defRPr>
            </a:lvl1pPr>
          </a:lstStyle>
          <a:p>
            <a:fld id="{3D7BCE66-C4E9-420F-B362-17D7E113C0EF}" type="datetimeFigureOut">
              <a:rPr lang="en-US" smtClean="0"/>
              <a:pPr/>
              <a:t>13/04/2013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200">
                <a:solidFill>
                  <a:srgbClr val="898989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>
                <a:solidFill>
                  <a:srgbClr val="898989"/>
                </a:solidFill>
                <a:latin typeface="+mn-lt"/>
              </a:defRPr>
            </a:lvl1pPr>
          </a:lstStyle>
          <a:p>
            <a:fld id="{AB16AAD0-69EA-42E7-B493-20FAC405ACCA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6.tif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tif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1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5" name="Picture 10" descr="f0076_01381.png"/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0" y="0"/>
              <a:ext cx="9144000" cy="6069330"/>
            </a:xfrm>
            <a:prstGeom prst="rect">
              <a:avLst/>
            </a:prstGeom>
            <a:noFill/>
          </p:spPr>
        </p:pic>
        <p:sp>
          <p:nvSpPr>
            <p:cNvPr id="6" name="Rectangle 5"/>
            <p:cNvSpPr/>
            <p:nvPr/>
          </p:nvSpPr>
          <p:spPr>
            <a:xfrm>
              <a:off x="0" y="5943600"/>
              <a:ext cx="9144000" cy="914400"/>
            </a:xfrm>
            <a:prstGeom prst="rect">
              <a:avLst/>
            </a:prstGeom>
            <a:gradFill>
              <a:gsLst>
                <a:gs pos="4000">
                  <a:srgbClr val="000000"/>
                </a:gs>
                <a:gs pos="20000">
                  <a:srgbClr val="000040"/>
                </a:gs>
                <a:gs pos="50000">
                  <a:srgbClr val="400040"/>
                </a:gs>
                <a:gs pos="75000">
                  <a:srgbClr val="8F0040"/>
                </a:gs>
                <a:gs pos="89999">
                  <a:srgbClr val="F27300"/>
                </a:gs>
                <a:gs pos="100000">
                  <a:srgbClr val="FFBF00">
                    <a:alpha val="45000"/>
                  </a:srgb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3074" name="Picture 2" descr="D:\file-file\dok gereja\slide backround\t0056a.jpg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-152400" y="457200"/>
            <a:ext cx="5486400" cy="5943600"/>
          </a:xfrm>
          <a:prstGeom prst="rect">
            <a:avLst/>
          </a:prstGeom>
          <a:scene3d>
            <a:camera prst="isometricOffAxis2Right">
              <a:rot lat="478162" lon="18062927" rev="42105"/>
            </a:camera>
            <a:lightRig rig="threePt" dir="t"/>
          </a:scene3d>
          <a:sp3d extrusionH="76200">
            <a:bevelB/>
            <a:extrusionClr>
              <a:srgbClr val="FF0000"/>
            </a:extrusionClr>
          </a:sp3d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 rot="20313497">
            <a:off x="-83770" y="2247034"/>
            <a:ext cx="6513265" cy="2988442"/>
          </a:xfrm>
        </p:spPr>
        <p:txBody>
          <a:bodyPr>
            <a:normAutofit/>
          </a:bodyPr>
          <a:lstStyle/>
          <a:p>
            <a:r>
              <a:rPr lang="en-US" sz="5400" dirty="0" err="1" smtClean="0">
                <a:ln w="22225" cap="rnd" cmpd="sng">
                  <a:solidFill>
                    <a:schemeClr val="bg1"/>
                  </a:solidFill>
                </a:ln>
                <a:solidFill>
                  <a:srgbClr val="FF000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50800" dist="50800" dir="5400000" algn="ctr" rotWithShape="0">
                    <a:schemeClr val="tx2"/>
                  </a:outerShdw>
                </a:effectLst>
                <a:latin typeface="Tw Cen MT Condensed Extra Bold" pitchFamily="34" charset="0"/>
              </a:rPr>
              <a:t>Datang</a:t>
            </a:r>
            <a:endParaRPr lang="en-US" sz="4800" dirty="0" smtClean="0">
              <a:ln w="22225" cap="rnd" cmpd="sng">
                <a:solidFill>
                  <a:schemeClr val="bg1"/>
                </a:solidFill>
              </a:ln>
              <a:solidFill>
                <a:srgbClr val="FF0000"/>
              </a:solidFill>
              <a:effectLst>
                <a:glow rad="101600">
                  <a:schemeClr val="bg1">
                    <a:alpha val="60000"/>
                  </a:schemeClr>
                </a:glow>
                <a:outerShdw blurRad="50800" dist="50800" dir="5400000" algn="ctr" rotWithShape="0">
                  <a:schemeClr val="tx2"/>
                </a:outerShdw>
              </a:effectLst>
              <a:latin typeface="Tw Cen MT Condensed Extra Bold" pitchFamily="34" charset="0"/>
            </a:endParaRPr>
          </a:p>
          <a:p>
            <a:endParaRPr lang="en-US" sz="4800" b="1" dirty="0">
              <a:solidFill>
                <a:srgbClr val="FF0000"/>
              </a:solidFill>
              <a:effectLst>
                <a:glow rad="101600">
                  <a:schemeClr val="bg1">
                    <a:alpha val="6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w Cen MT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 rot="20362700">
            <a:off x="1256955" y="513844"/>
            <a:ext cx="2754230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400" dirty="0" smtClean="0">
                <a:ln w="22225" cap="rnd" cmpd="sng">
                  <a:solidFill>
                    <a:schemeClr val="bg1"/>
                  </a:solidFill>
                </a:ln>
                <a:solidFill>
                  <a:srgbClr val="FF000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50800" dist="50800" dir="5400000" algn="ctr" rotWithShape="0">
                    <a:schemeClr val="tx2"/>
                  </a:outerShdw>
                </a:effectLst>
                <a:latin typeface="Tw Cen MT Condensed Extra Bold" pitchFamily="34" charset="0"/>
              </a:rPr>
              <a:t> </a:t>
            </a:r>
            <a:r>
              <a:rPr lang="en-US" sz="4800" dirty="0" smtClean="0">
                <a:ln w="22225" cap="rnd" cmpd="sng">
                  <a:solidFill>
                    <a:schemeClr val="bg1"/>
                  </a:solidFill>
                </a:ln>
                <a:solidFill>
                  <a:srgbClr val="FF000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50800" dist="50800" dir="5400000" algn="ctr" rotWithShape="0">
                    <a:schemeClr val="tx2"/>
                  </a:outerShdw>
                </a:effectLst>
                <a:latin typeface="Tw Cen MT Condensed Extra Bold" pitchFamily="34" charset="0"/>
              </a:rPr>
              <a:t>   </a:t>
            </a:r>
            <a:r>
              <a:rPr lang="en-US" sz="6000" dirty="0" err="1" smtClean="0">
                <a:ln w="22225" cap="rnd" cmpd="sng">
                  <a:solidFill>
                    <a:schemeClr val="bg1"/>
                  </a:solidFill>
                </a:ln>
                <a:solidFill>
                  <a:srgbClr val="FF000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50800" dist="50800" dir="5400000" algn="ctr" rotWithShape="0">
                    <a:schemeClr val="tx2"/>
                  </a:outerShdw>
                </a:effectLst>
                <a:latin typeface="Tw Cen MT Condensed Extra Bold" pitchFamily="34" charset="0"/>
              </a:rPr>
              <a:t>Selama</a:t>
            </a:r>
            <a:r>
              <a:rPr lang="en-US" sz="4800" dirty="0" err="1" smtClean="0">
                <a:ln w="22225" cap="rnd" cmpd="sng">
                  <a:solidFill>
                    <a:schemeClr val="bg1"/>
                  </a:solidFill>
                </a:ln>
                <a:solidFill>
                  <a:srgbClr val="FF000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50800" dist="50800" dir="5400000" algn="ctr" rotWithShape="0">
                    <a:schemeClr val="tx2"/>
                  </a:outerShdw>
                </a:effectLst>
                <a:latin typeface="Tw Cen MT Condensed Extra Bold" pitchFamily="34" charset="0"/>
              </a:rPr>
              <a:t>t</a:t>
            </a:r>
            <a:endParaRPr lang="en-US" sz="5400" dirty="0" smtClean="0">
              <a:ln w="22225" cap="rnd" cmpd="sng">
                <a:solidFill>
                  <a:schemeClr val="bg1"/>
                </a:solidFill>
              </a:ln>
              <a:solidFill>
                <a:srgbClr val="FF0000"/>
              </a:solidFill>
              <a:effectLst>
                <a:glow rad="101600">
                  <a:schemeClr val="bg1">
                    <a:alpha val="60000"/>
                  </a:schemeClr>
                </a:glow>
                <a:outerShdw blurRad="50800" dist="50800" dir="5400000" algn="ctr" rotWithShape="0">
                  <a:schemeClr val="tx2"/>
                </a:outerShdw>
              </a:effectLst>
              <a:latin typeface="Tw Cen MT Condensed Extra Bold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5715000"/>
            <a:ext cx="968295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400" dirty="0" smtClean="0">
                <a:ln w="22225" cap="rnd" cmpd="sng">
                  <a:solidFill>
                    <a:schemeClr val="bg1"/>
                  </a:solidFill>
                </a:ln>
                <a:solidFill>
                  <a:srgbClr val="FF000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50800" dist="50800" dir="5400000" algn="ctr" rotWithShape="0">
                    <a:schemeClr val="tx2"/>
                  </a:outerShdw>
                </a:effectLst>
                <a:latin typeface="Tw Cen MT Condensed Extra Bold" pitchFamily="34" charset="0"/>
              </a:rPr>
              <a:t>DI JEMAAT SINAR SION RARANON</a:t>
            </a:r>
            <a:endParaRPr lang="en-US" sz="5400" dirty="0"/>
          </a:p>
        </p:txBody>
      </p:sp>
      <p:pic>
        <p:nvPicPr>
          <p:cNvPr id="1026" name="Picture 2" descr="D:\logo collection\LOGO 2\Logo gereja\gmim cmyk.tif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677150" y="0"/>
            <a:ext cx="1466850" cy="1466850"/>
          </a:xfrm>
          <a:prstGeom prst="rect">
            <a:avLst/>
          </a:prstGeom>
          <a:noFill/>
        </p:spPr>
      </p:pic>
      <p:pic>
        <p:nvPicPr>
          <p:cNvPr id="10" name="Picture 27" descr="Untitled-6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lum bright="11000"/>
          </a:blip>
          <a:srcRect/>
          <a:stretch>
            <a:fillRect/>
          </a:stretch>
        </p:blipFill>
        <p:spPr bwMode="auto">
          <a:xfrm>
            <a:off x="1828800" y="2971800"/>
            <a:ext cx="2230824" cy="1728787"/>
          </a:xfrm>
          <a:prstGeom prst="rect">
            <a:avLst/>
          </a:prstGeom>
          <a:noFill/>
        </p:spPr>
      </p:pic>
    </p:spTree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5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2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8" presetClass="entr" presetSubtype="0" accel="5000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set>
                                      <p:cBhvr>
                                        <p:cTn id="21" dur="45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o>
                                        <p:strVal val="-45.0"/>
                                      </p:to>
                                    </p:set>
                                    <p:anim calcmode="lin" valueType="num">
                                      <p:cBhvr>
                                        <p:cTn id="22" dur="455" fill="hold">
                                          <p:stCondLst>
                                            <p:cond delay="455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45"/>
                                          </p:val>
                                        </p:tav>
                                        <p:tav tm="69900">
                                          <p:val>
                                            <p:fltVal val="45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45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56" decel="50000" autoRev="1" fill="hold">
                                          <p:stCondLst>
                                            <p:cond delay="455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-#ppt_h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36" fill="hold">
                                          <p:stCondLst>
                                            <p:cond delay="864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9" presetClass="entr" presetSubtype="1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5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2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1806 0.00925 L -0.08854 -0.11471 " pathEditMode="relative" rAng="0" ptsTypes="AA">
                                      <p:cBhvr>
                                        <p:cTn id="43" dur="200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3" y="-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D:\file-file\dok gereja\slide backround\light-candle-in-darkness-300x225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>
          <a:xfrm>
            <a:off x="304800" y="152400"/>
            <a:ext cx="8534401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Pengakuan</a:t>
            </a:r>
            <a:r>
              <a:rPr lang="en-US" sz="5400" b="1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 </a:t>
            </a:r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Dosa</a:t>
            </a:r>
            <a:endParaRPr lang="en-US" sz="54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  <a:latin typeface="Comic Sans MS" pitchFamily="66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09600" y="1219200"/>
            <a:ext cx="8077200" cy="5078313"/>
          </a:xfrm>
          <a:prstGeom prst="rect">
            <a:avLst/>
          </a:prstGeom>
          <a:noFill/>
          <a:ln>
            <a:noFill/>
          </a:ln>
          <a:effectLst>
            <a:outerShdw blurRad="50800" dist="50800" dir="5400000" algn="ctr" rotWithShape="0">
              <a:srgbClr val="FFC000"/>
            </a:outerShdw>
          </a:effectLst>
        </p:spPr>
        <p:txBody>
          <a:bodyPr wrap="square">
            <a:spAutoFit/>
          </a:bodyPr>
          <a:lstStyle/>
          <a:p>
            <a:r>
              <a:rPr lang="en-US" sz="2400" b="1" dirty="0" smtClean="0">
                <a:latin typeface="Maiandra GD" pitchFamily="34" charset="0"/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  <a:latin typeface="Maiandra GD" pitchFamily="34" charset="0"/>
              </a:rPr>
              <a:t>S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ekarang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in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	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genapkanlah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kiranya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janj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anugerah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-Mu yang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menyelamatkan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itu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ke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dalam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hat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tiap-tiap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orang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yang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menyesal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dosanya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;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hapuskanlah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semua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dosa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kam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dan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bersihkanlah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hat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nuran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kam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oleh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pengorbanan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Kristus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, TUHAN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kam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;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dan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peliharalah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kam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selalu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dalam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dama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sejahtera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dan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kegembiraan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hidup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yang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suc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, </a:t>
            </a:r>
            <a:endParaRPr lang="en-US" sz="36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>
    <p:wipe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D:\file-file\dok gereja\slide backround\light-candle-in-darkness-300x225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>
          <a:xfrm>
            <a:off x="304800" y="152400"/>
            <a:ext cx="8534401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Pengakuan</a:t>
            </a:r>
            <a:r>
              <a:rPr lang="en-US" sz="5400" b="1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 </a:t>
            </a:r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Dosa</a:t>
            </a:r>
            <a:endParaRPr lang="en-US" sz="54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  <a:latin typeface="Comic Sans MS" pitchFamily="66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57200" y="1219200"/>
            <a:ext cx="746760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dirty="0" smtClean="0">
                <a:latin typeface="Maiandra GD" pitchFamily="34" charset="0"/>
              </a:rPr>
              <a:t>	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supaya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untuk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selama-lamanya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	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kam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boleh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mengasih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Dikau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	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dan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mengabd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kepada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-Mu; 	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dalam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nama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Allah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Bapa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,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Anak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	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dan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Roh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Kudus”.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Amin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/>
            </a:r>
            <a:b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J :	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Menyany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	</a:t>
            </a:r>
          </a:p>
          <a:p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	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“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Selidiklah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Akan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Daku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Ya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Allah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”</a:t>
            </a:r>
            <a:endParaRPr lang="en-US" sz="36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:\file-file\dok gereja\slide backround\gitar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1113" y="0"/>
            <a:ext cx="91551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0" y="0"/>
            <a:ext cx="9144000" cy="769441"/>
          </a:xfrm>
          <a:prstGeom prst="rect">
            <a:avLst/>
          </a:prstGeom>
          <a:solidFill>
            <a:srgbClr val="00B050">
              <a:alpha val="52000"/>
            </a:srgbClr>
          </a:soli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26C96">
                <a:alpha val="50000"/>
              </a:srgbClr>
            </a:prstShdw>
          </a:effectLst>
        </p:spPr>
        <p:txBody>
          <a:bodyPr wrap="square">
            <a:spAutoFit/>
          </a:bodyPr>
          <a:lstStyle/>
          <a:p>
            <a:pPr marL="914400" lvl="0" indent="-9144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Selidiklah</a:t>
            </a:r>
            <a:r>
              <a:rPr lang="en-US" sz="4400" b="1" kern="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 </a:t>
            </a: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Akan</a:t>
            </a:r>
            <a:r>
              <a:rPr lang="en-US" sz="4400" b="1" kern="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 </a:t>
            </a: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Daku</a:t>
            </a:r>
            <a:r>
              <a:rPr lang="en-US" sz="4400" b="1" kern="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 </a:t>
            </a: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Ya</a:t>
            </a:r>
            <a:r>
              <a:rPr lang="en-US" sz="4400" b="1" kern="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 Allah</a:t>
            </a:r>
            <a:endParaRPr lang="en-US" sz="3600" b="1" kern="0" dirty="0">
              <a:solidFill>
                <a:srgbClr val="FFFF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066800" y="2057400"/>
            <a:ext cx="7010400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b="1" dirty="0" err="1" smtClean="0">
                <a:solidFill>
                  <a:schemeClr val="bg1"/>
                </a:solidFill>
                <a:latin typeface="Maiandra GD" pitchFamily="34" charset="0"/>
              </a:rPr>
              <a:t>Selidiklah</a:t>
            </a:r>
            <a:r>
              <a:rPr lang="en-US" sz="40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latin typeface="Maiandra GD" pitchFamily="34" charset="0"/>
              </a:rPr>
              <a:t>akan</a:t>
            </a:r>
            <a:r>
              <a:rPr lang="en-US" sz="40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latin typeface="Maiandra GD" pitchFamily="34" charset="0"/>
              </a:rPr>
              <a:t>daku</a:t>
            </a:r>
            <a:r>
              <a:rPr lang="en-US" sz="40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latin typeface="Maiandra GD" pitchFamily="34" charset="0"/>
              </a:rPr>
              <a:t>ya</a:t>
            </a:r>
            <a:r>
              <a:rPr lang="en-US" sz="4000" b="1" dirty="0" smtClean="0">
                <a:solidFill>
                  <a:schemeClr val="bg1"/>
                </a:solidFill>
                <a:latin typeface="Maiandra GD" pitchFamily="34" charset="0"/>
              </a:rPr>
              <a:t> Allah </a:t>
            </a:r>
            <a:r>
              <a:rPr lang="en-US" sz="4000" b="1" dirty="0" err="1" smtClean="0">
                <a:solidFill>
                  <a:schemeClr val="bg1"/>
                </a:solidFill>
                <a:latin typeface="Maiandra GD" pitchFamily="34" charset="0"/>
              </a:rPr>
              <a:t>ketahuilah</a:t>
            </a:r>
            <a:r>
              <a:rPr lang="en-US" sz="40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latin typeface="Maiandra GD" pitchFamily="34" charset="0"/>
              </a:rPr>
              <a:t>akan</a:t>
            </a:r>
            <a:r>
              <a:rPr lang="en-US" sz="40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latin typeface="Maiandra GD" pitchFamily="34" charset="0"/>
              </a:rPr>
              <a:t>hatiku</a:t>
            </a:r>
            <a:r>
              <a:rPr lang="en-US" sz="40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4000" b="1" dirty="0" smtClean="0">
                <a:solidFill>
                  <a:schemeClr val="bg1"/>
                </a:solidFill>
                <a:latin typeface="Maiandra GD" pitchFamily="34" charset="0"/>
              </a:rPr>
              <a:t>                                 </a:t>
            </a:r>
            <a:r>
              <a:rPr lang="en-US" sz="4000" b="1" dirty="0" err="1" smtClean="0">
                <a:solidFill>
                  <a:schemeClr val="bg1"/>
                </a:solidFill>
                <a:latin typeface="Maiandra GD" pitchFamily="34" charset="0"/>
              </a:rPr>
              <a:t>ujilah</a:t>
            </a:r>
            <a:r>
              <a:rPr lang="en-US" sz="40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latin typeface="Maiandra GD" pitchFamily="34" charset="0"/>
              </a:rPr>
              <a:t>akan</a:t>
            </a:r>
            <a:r>
              <a:rPr lang="en-US" sz="40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latin typeface="Maiandra GD" pitchFamily="34" charset="0"/>
              </a:rPr>
              <a:t>daku</a:t>
            </a:r>
            <a:r>
              <a:rPr lang="en-US" sz="40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4000" b="1" dirty="0" smtClean="0">
                <a:solidFill>
                  <a:schemeClr val="bg1"/>
                </a:solidFill>
                <a:latin typeface="Maiandra GD" pitchFamily="34" charset="0"/>
              </a:rPr>
              <a:t>                             </a:t>
            </a:r>
            <a:r>
              <a:rPr lang="en-US" sz="4000" b="1" dirty="0" err="1" smtClean="0">
                <a:solidFill>
                  <a:schemeClr val="bg1"/>
                </a:solidFill>
                <a:latin typeface="Maiandra GD" pitchFamily="34" charset="0"/>
              </a:rPr>
              <a:t>dan</a:t>
            </a:r>
            <a:r>
              <a:rPr lang="en-US" sz="40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latin typeface="Maiandra GD" pitchFamily="34" charset="0"/>
              </a:rPr>
              <a:t>ketahuilah</a:t>
            </a:r>
            <a:r>
              <a:rPr lang="en-US" sz="40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4000" b="1" dirty="0" smtClean="0">
                <a:solidFill>
                  <a:schemeClr val="bg1"/>
                </a:solidFill>
                <a:latin typeface="Maiandra GD" pitchFamily="34" charset="0"/>
              </a:rPr>
              <a:t>                                         </a:t>
            </a:r>
            <a:r>
              <a:rPr lang="en-US" sz="4000" b="1" dirty="0" err="1" smtClean="0">
                <a:solidFill>
                  <a:schemeClr val="bg1"/>
                </a:solidFill>
                <a:latin typeface="Maiandra GD" pitchFamily="34" charset="0"/>
              </a:rPr>
              <a:t>akan</a:t>
            </a:r>
            <a:r>
              <a:rPr lang="en-US" sz="40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latin typeface="Maiandra GD" pitchFamily="34" charset="0"/>
              </a:rPr>
              <a:t>segala</a:t>
            </a:r>
            <a:r>
              <a:rPr lang="en-US" sz="40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latin typeface="Maiandra GD" pitchFamily="34" charset="0"/>
              </a:rPr>
              <a:t>kepikiranku</a:t>
            </a:r>
            <a:endParaRPr lang="en-US" sz="4000" b="1" dirty="0">
              <a:solidFill>
                <a:schemeClr val="bg1"/>
              </a:solidFill>
              <a:latin typeface="Maiandra GD" pitchFamily="34" charset="0"/>
            </a:endParaRPr>
          </a:p>
        </p:txBody>
      </p:sp>
    </p:spTree>
  </p:cSld>
  <p:clrMapOvr>
    <a:masterClrMapping/>
  </p:clrMapOvr>
  <p:transition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8" presetClass="entr" presetSubtype="0" accel="5000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set>
                                      <p:cBhvr>
                                        <p:cTn id="13" dur="45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o>
                                        <p:strVal val="-45.0"/>
                                      </p:to>
                                    </p:set>
                                    <p:anim calcmode="lin" valueType="num">
                                      <p:cBhvr>
                                        <p:cTn id="14" dur="455" fill="hold">
                                          <p:stCondLst>
                                            <p:cond delay="455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45"/>
                                          </p:val>
                                        </p:tav>
                                        <p:tav tm="69900">
                                          <p:val>
                                            <p:fltVal val="45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45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56" decel="50000" autoRev="1" fill="hold">
                                          <p:stCondLst>
                                            <p:cond delay="455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-#ppt_h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36" fill="hold">
                                          <p:stCondLst>
                                            <p:cond delay="864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:\file-file\dok gereja\slide backround\light-candle-in-darkness-300x225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>
          <a:xfrm>
            <a:off x="304800" y="152400"/>
            <a:ext cx="8534401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Janji</a:t>
            </a:r>
            <a:r>
              <a:rPr lang="en-US" sz="5400" b="1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 </a:t>
            </a:r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Anugerah</a:t>
            </a:r>
            <a:r>
              <a:rPr lang="en-US" sz="5400" b="1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 Allah</a:t>
            </a:r>
            <a:endParaRPr lang="en-US" sz="54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  <a:latin typeface="Comic Sans MS" pitchFamily="66" charset="0"/>
            </a:endParaRPr>
          </a:p>
        </p:txBody>
      </p:sp>
      <p:sp>
        <p:nvSpPr>
          <p:cNvPr id="5" name="Content Placeholder 14"/>
          <p:cNvSpPr txBox="1">
            <a:spLocks/>
          </p:cNvSpPr>
          <p:nvPr/>
        </p:nvSpPr>
        <p:spPr>
          <a:xfrm>
            <a:off x="304800" y="1219200"/>
            <a:ext cx="8610600" cy="4114800"/>
          </a:xfrm>
          <a:prstGeom prst="rect">
            <a:avLst/>
          </a:prstGeom>
        </p:spPr>
        <p:txBody>
          <a:bodyPr/>
          <a:lstStyle/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endParaRPr lang="en-US" sz="4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aiandra GD" pitchFamily="34" charset="0"/>
            </a:endParaRP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	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      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:  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embaca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			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  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Yohanes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3:16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	       P+J </a:t>
            </a:r>
            <a:r>
              <a:rPr lang="en-US" sz="4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: 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enyanyi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   		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“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uyakin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Saat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au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Berfirman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”</a:t>
            </a:r>
            <a:r>
              <a:rPr lang="en-US" sz="4400" dirty="0">
                <a:solidFill>
                  <a:schemeClr val="bg1"/>
                </a:solidFill>
                <a:latin typeface="Maiandra GD" pitchFamily="34" charset="0"/>
              </a:rPr>
              <a:t/>
            </a:r>
            <a:br>
              <a:rPr lang="en-US" sz="4400" dirty="0">
                <a:solidFill>
                  <a:schemeClr val="bg1"/>
                </a:solidFill>
                <a:latin typeface="Maiandra GD" pitchFamily="34" charset="0"/>
              </a:rPr>
            </a:br>
            <a:endParaRPr kumimoji="0" lang="en-US" sz="36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iandra GD" pitchFamily="34" charset="0"/>
            </a:endParaRPr>
          </a:p>
        </p:txBody>
      </p:sp>
    </p:spTree>
  </p:cSld>
  <p:clrMapOvr>
    <a:masterClrMapping/>
  </p:clrMapOvr>
  <p:transition>
    <p:checker dir="vert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:\file-file\dok gereja\slide backround\gitar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1113" y="0"/>
            <a:ext cx="91551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0" y="0"/>
            <a:ext cx="9144000" cy="769441"/>
          </a:xfrm>
          <a:prstGeom prst="rect">
            <a:avLst/>
          </a:prstGeom>
          <a:solidFill>
            <a:srgbClr val="00B050">
              <a:alpha val="52000"/>
            </a:srgbClr>
          </a:soli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26C96">
                <a:alpha val="50000"/>
              </a:srgbClr>
            </a:prstShdw>
          </a:effectLst>
        </p:spPr>
        <p:txBody>
          <a:bodyPr wrap="square">
            <a:spAutoFit/>
          </a:bodyPr>
          <a:lstStyle/>
          <a:p>
            <a:pPr marL="914400" lvl="0" indent="-9144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Kuyakin</a:t>
            </a:r>
            <a:r>
              <a:rPr lang="en-US" sz="4400" b="1" kern="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 </a:t>
            </a: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Saat</a:t>
            </a:r>
            <a:r>
              <a:rPr lang="en-US" sz="4400" b="1" kern="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 </a:t>
            </a: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Kau</a:t>
            </a:r>
            <a:r>
              <a:rPr lang="en-US" sz="4400" b="1" kern="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 </a:t>
            </a: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Berfirman</a:t>
            </a:r>
            <a:endParaRPr lang="en-US" sz="3600" b="1" kern="0" dirty="0">
              <a:solidFill>
                <a:srgbClr val="FFFF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28600" y="1219200"/>
            <a:ext cx="8915400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U YAKIN SAAT KAU BERFIRMAN</a:t>
            </a:r>
          </a:p>
          <a:p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U MENANG SAAT KAU BERTINDAK</a:t>
            </a:r>
          </a:p>
          <a:p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HIDUPKU HANYA DITENTUKAN </a:t>
            </a:r>
          </a:p>
          <a:p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OLEH PERKATAANMU</a:t>
            </a:r>
          </a:p>
          <a:p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U AMAN KARENA KAU MENJAGA</a:t>
            </a:r>
          </a:p>
          <a:p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U KUAT KARENA KAU MENOPANG </a:t>
            </a:r>
          </a:p>
          <a:p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HIDUPKU HANYA DITENTUKAN</a:t>
            </a:r>
          </a:p>
          <a:p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OLEH KUASAMU</a:t>
            </a:r>
          </a:p>
        </p:txBody>
      </p:sp>
    </p:spTree>
  </p:cSld>
  <p:clrMapOvr>
    <a:masterClrMapping/>
  </p:clrMapOvr>
  <p:transition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31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:\file-file\dok gereja\slide backround\gitar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1113" y="0"/>
            <a:ext cx="91551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0" y="0"/>
            <a:ext cx="9144000" cy="769441"/>
          </a:xfrm>
          <a:prstGeom prst="rect">
            <a:avLst/>
          </a:prstGeom>
          <a:solidFill>
            <a:srgbClr val="00B050">
              <a:alpha val="52000"/>
            </a:srgbClr>
          </a:soli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26C96">
                <a:alpha val="50000"/>
              </a:srgbClr>
            </a:prstShdw>
          </a:effectLst>
        </p:spPr>
        <p:txBody>
          <a:bodyPr wrap="square">
            <a:spAutoFit/>
          </a:bodyPr>
          <a:lstStyle/>
          <a:p>
            <a:pPr marL="914400" lvl="0" indent="-9144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Kuyakin</a:t>
            </a:r>
            <a:r>
              <a:rPr lang="en-US" sz="4400" b="1" kern="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 </a:t>
            </a: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Saat</a:t>
            </a:r>
            <a:r>
              <a:rPr lang="en-US" sz="4400" b="1" kern="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 </a:t>
            </a: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Kau</a:t>
            </a:r>
            <a:r>
              <a:rPr lang="en-US" sz="4400" b="1" kern="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 </a:t>
            </a: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Berfirman</a:t>
            </a:r>
            <a:endParaRPr lang="en-US" sz="3600" b="1" kern="0" dirty="0">
              <a:solidFill>
                <a:srgbClr val="FFFF0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52400" y="1676400"/>
            <a:ext cx="899160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BAGI TUHAN 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                                   TAK 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ADA YANG MUSTAHIL</a:t>
            </a:r>
          </a:p>
          <a:p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BAGI TUHAN 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                                  TAK 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ADA YANG TAK MUNGKIN</a:t>
            </a:r>
          </a:p>
          <a:p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UJIZATNYA DISEDIAKAN BAGIKU KUDIANGKAT DAN 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IPULIHKANNYA </a:t>
            </a:r>
            <a:endParaRPr lang="en-US" sz="4000" b="1" dirty="0">
              <a:solidFill>
                <a:schemeClr val="bg1"/>
              </a:solidFill>
              <a:latin typeface="Maiandra GD" pitchFamily="34" charset="0"/>
            </a:endParaRPr>
          </a:p>
        </p:txBody>
      </p:sp>
    </p:spTree>
  </p:cSld>
  <p:clrMapOvr>
    <a:masterClrMapping/>
  </p:clrMapOvr>
  <p:transition>
    <p:comb dir="vert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D:\file-file\dok gereja\slide backround\images (3)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49174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>
          <a:xfrm>
            <a:off x="304800" y="152400"/>
            <a:ext cx="8534401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Puji-Pujian</a:t>
            </a:r>
            <a:endParaRPr lang="en-US" sz="54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  <a:latin typeface="Comic Sans MS" pitchFamily="66" charset="0"/>
            </a:endParaRPr>
          </a:p>
        </p:txBody>
      </p:sp>
      <p:sp>
        <p:nvSpPr>
          <p:cNvPr id="6" name="Content Placeholder 14"/>
          <p:cNvSpPr txBox="1">
            <a:spLocks/>
          </p:cNvSpPr>
          <p:nvPr/>
        </p:nvSpPr>
        <p:spPr>
          <a:xfrm>
            <a:off x="-609600" y="1295400"/>
            <a:ext cx="8382000" cy="4038600"/>
          </a:xfrm>
          <a:prstGeom prst="rect">
            <a:avLst/>
          </a:prstGeom>
          <a:effectLst>
            <a:outerShdw blurRad="50800" dist="50800" dir="5400000" algn="ctr" rotWithShape="0">
              <a:srgbClr val="FFC000"/>
            </a:outerShdw>
          </a:effectLst>
        </p:spPr>
        <p:txBody>
          <a:bodyPr/>
          <a:lstStyle/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2800" b="1" dirty="0">
                <a:solidFill>
                  <a:schemeClr val="bg1"/>
                </a:solidFill>
                <a:latin typeface="Maiandra GD" pitchFamily="34" charset="0"/>
              </a:rPr>
              <a:t>	</a:t>
            </a:r>
            <a: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 </a:t>
            </a: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: 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	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Sekarang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ini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uliakanlah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	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uhan,Allah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ita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.</a:t>
            </a: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                    J </a:t>
            </a: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: 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	Dan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ujilah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namaNya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yang 	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inggi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luhur</a:t>
            </a:r>
            <a:endParaRPr lang="en-US" sz="36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aiandra GD" pitchFamily="34" charset="0"/>
            </a:endParaRP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kumimoji="0" lang="en-US" sz="36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	  P:	</a:t>
            </a:r>
            <a:r>
              <a:rPr kumimoji="0" lang="en-US" sz="36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Bersyukurlah</a:t>
            </a:r>
            <a:r>
              <a:rPr kumimoji="0" lang="en-US" sz="36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 </a:t>
            </a:r>
            <a:r>
              <a:rPr kumimoji="0" lang="en-US" sz="36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kepada</a:t>
            </a:r>
            <a:r>
              <a:rPr kumimoji="0" lang="en-US" sz="36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 	</a:t>
            </a:r>
            <a:r>
              <a:rPr kumimoji="0" lang="en-US" sz="36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Tuhan,sebab</a:t>
            </a:r>
            <a:r>
              <a:rPr kumimoji="0" lang="en-US" sz="36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 </a:t>
            </a:r>
            <a:r>
              <a:rPr kumimoji="0" lang="en-US" sz="36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Ia</a:t>
            </a:r>
            <a:r>
              <a:rPr kumimoji="0" lang="en-US" sz="36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 </a:t>
            </a:r>
            <a:r>
              <a:rPr kumimoji="0" lang="en-US" sz="36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baik</a:t>
            </a:r>
            <a:r>
              <a:rPr kumimoji="0" lang="en-US" sz="36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	                 J:	</a:t>
            </a:r>
            <a:r>
              <a:rPr kumimoji="0" lang="en-US" sz="36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Bahwasanya</a:t>
            </a:r>
            <a:r>
              <a:rPr kumimoji="0" lang="en-US" sz="36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 </a:t>
            </a:r>
            <a:r>
              <a:rPr kumimoji="0" lang="en-US" sz="36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untuk</a:t>
            </a:r>
            <a:r>
              <a:rPr kumimoji="0" lang="en-US" sz="36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 </a:t>
            </a:r>
            <a:r>
              <a:rPr kumimoji="0" lang="en-US" sz="36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selama</a:t>
            </a:r>
            <a:r>
              <a:rPr kumimoji="0" lang="en-US" sz="36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 	</a:t>
            </a:r>
            <a:r>
              <a:rPr kumimoji="0" lang="en-US" sz="36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lamanya</a:t>
            </a:r>
            <a:r>
              <a:rPr kumimoji="0" lang="en-US" sz="36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	</a:t>
            </a:r>
            <a:r>
              <a:rPr kumimoji="0" lang="en-US" sz="36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kasih</a:t>
            </a:r>
            <a:r>
              <a:rPr kumimoji="0" lang="en-US" sz="3600" b="1" i="0" u="none" strike="noStrike" kern="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 </a:t>
            </a:r>
            <a:r>
              <a:rPr kumimoji="0" lang="en-US" sz="3600" b="1" i="0" u="none" strike="noStrike" kern="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setiaNya</a:t>
            </a:r>
            <a:endParaRPr kumimoji="0" lang="en-US" sz="36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Maiandra GD" pitchFamily="34" charset="0"/>
              <a:ea typeface="+mn-ea"/>
              <a:cs typeface="+mn-cs"/>
            </a:endParaRP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3600" b="1" kern="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	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WordArt 6"/>
          <p:cNvSpPr>
            <a:spLocks noChangeArrowheads="1" noChangeShapeType="1" noTextEdit="1"/>
          </p:cNvSpPr>
          <p:nvPr/>
        </p:nvSpPr>
        <p:spPr bwMode="auto">
          <a:xfrm>
            <a:off x="4724400" y="5943600"/>
            <a:ext cx="3657600" cy="5334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Jemaat</a:t>
            </a:r>
            <a:r>
              <a:rPr lang="en-US" sz="213200" b="1" kern="10" spc="720" dirty="0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 </a:t>
            </a:r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berdiri</a:t>
            </a:r>
            <a:endParaRPr lang="en-US" sz="213200" b="1" kern="10" spc="720" dirty="0">
              <a:ln w="3175">
                <a:solidFill>
                  <a:srgbClr val="FF9900"/>
                </a:solidFill>
                <a:round/>
                <a:headEnd/>
                <a:tailEnd/>
              </a:ln>
              <a:solidFill>
                <a:srgbClr val="FF9900"/>
              </a:solidFill>
              <a:effectLst>
                <a:outerShdw dist="45791" dir="3378596" algn="ctr" rotWithShape="0">
                  <a:srgbClr val="4D4D4D">
                    <a:alpha val="79999"/>
                  </a:srgbClr>
                </a:outerShdw>
              </a:effectLst>
              <a:latin typeface="Maiandra GD"/>
            </a:endParaRPr>
          </a:p>
        </p:txBody>
      </p:sp>
    </p:spTree>
  </p:cSld>
  <p:clrMapOvr>
    <a:masterClrMapping/>
  </p:clrMapOvr>
  <p:transition>
    <p:wheel spokes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repeatCount="3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D:\file-file\dok gereja\slide backround\images (3)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49174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>
          <a:xfrm>
            <a:off x="304800" y="0"/>
            <a:ext cx="8534401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Puji-Pujian</a:t>
            </a:r>
            <a:endParaRPr lang="en-US" sz="54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  <a:latin typeface="Comic Sans MS" pitchFamily="66" charset="0"/>
            </a:endParaRPr>
          </a:p>
        </p:txBody>
      </p:sp>
      <p:sp>
        <p:nvSpPr>
          <p:cNvPr id="5" name="Content Placeholder 14"/>
          <p:cNvSpPr txBox="1">
            <a:spLocks/>
          </p:cNvSpPr>
          <p:nvPr/>
        </p:nvSpPr>
        <p:spPr>
          <a:xfrm>
            <a:off x="0" y="1295400"/>
            <a:ext cx="9144000" cy="4038600"/>
          </a:xfrm>
          <a:prstGeom prst="rect">
            <a:avLst/>
          </a:prstGeom>
          <a:effectLst>
            <a:outerShdw blurRad="50800" dist="50800" dir="5400000" algn="ctr" rotWithShape="0">
              <a:srgbClr val="FFC000"/>
            </a:outerShdw>
          </a:effectLst>
        </p:spPr>
        <p:txBody>
          <a:bodyPr/>
          <a:lstStyle/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P:	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Haleluya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!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Pujilah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nama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TUHAN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, </a:t>
            </a:r>
            <a:endParaRPr lang="en-US" sz="3600" b="1" dirty="0" smtClean="0">
              <a:solidFill>
                <a:schemeClr val="bg1"/>
              </a:solidFill>
              <a:latin typeface="Maiandra GD" pitchFamily="34" charset="0"/>
            </a:endParaRP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J: 	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pujilah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,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hai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hamba-hamba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TUHAN,</a:t>
            </a:r>
            <a:endParaRPr lang="en-US" sz="3600" b="1" dirty="0">
              <a:solidFill>
                <a:schemeClr val="bg1"/>
              </a:solidFill>
              <a:latin typeface="Maiandra GD" pitchFamily="34" charset="0"/>
            </a:endParaRP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P: 	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ha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orang-orang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 yang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datang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   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melayan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di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rumah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 TUHAN, </a:t>
            </a: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J: 	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d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pelataran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rumah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 Allah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kita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!</a:t>
            </a: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P: 	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Pujilah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TUHAN,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sebab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 TUHAN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itu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baik</a:t>
            </a:r>
            <a:endParaRPr lang="en-US" sz="3600" b="1" dirty="0" smtClean="0">
              <a:solidFill>
                <a:schemeClr val="bg1"/>
              </a:solidFill>
              <a:latin typeface="Maiandra GD" pitchFamily="34" charset="0"/>
            </a:endParaRP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J :	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bermazmurlah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bagi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nama-Nya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,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sebab</a:t>
            </a:r>
            <a:endParaRPr lang="en-US" sz="3600" b="1" dirty="0" smtClean="0">
              <a:solidFill>
                <a:schemeClr val="bg1"/>
              </a:solidFill>
              <a:latin typeface="Maiandra GD" pitchFamily="34" charset="0"/>
            </a:endParaRP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   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nama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itu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indah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!</a:t>
            </a:r>
            <a:b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</a:br>
            <a:endParaRPr kumimoji="0" lang="en-US" sz="36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aiandra GD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-285784" y="6019800"/>
            <a:ext cx="9715568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Ibadah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Minggu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14 April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2013</a:t>
            </a:r>
            <a:r>
              <a:rPr lang="en-US" sz="32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Jemaat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nar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Raran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 </a:t>
            </a:r>
            <a:endParaRPr lang="en-US" sz="4000" b="1" cap="none" spc="0" dirty="0">
              <a:ln w="11430"/>
              <a:solidFill>
                <a:schemeClr val="bg1"/>
              </a:soli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Vijaya" pitchFamily="34" charset="0"/>
              <a:cs typeface="Vijaya" pitchFamily="34" charset="0"/>
            </a:endParaRPr>
          </a:p>
        </p:txBody>
      </p:sp>
    </p:spTree>
  </p:cSld>
  <p:clrMapOvr>
    <a:masterClrMapping/>
  </p:clrMapOvr>
  <p:transition>
    <p:wheel spokes="8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7" dur="5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D:\file-file\dok gereja\slide backround\images (3)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49174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>
          <a:xfrm>
            <a:off x="304800" y="0"/>
            <a:ext cx="8534401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Puji-Pujian</a:t>
            </a:r>
            <a:endParaRPr lang="en-US" sz="54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  <a:latin typeface="Comic Sans MS" pitchFamily="66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85800" y="990599"/>
            <a:ext cx="8001000" cy="5909310"/>
          </a:xfrm>
          <a:prstGeom prst="rect">
            <a:avLst/>
          </a:prstGeom>
          <a:effectLst>
            <a:outerShdw blurRad="50800" dist="50800" dir="5400000" algn="ctr" rotWithShape="0">
              <a:srgbClr val="FFC000"/>
            </a:outerShdw>
          </a:effectLst>
        </p:spPr>
        <p:txBody>
          <a:bodyPr wrap="square">
            <a:spAutoFit/>
          </a:bodyPr>
          <a:lstStyle/>
          <a:p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P : 	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Sebab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TUHAN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telah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	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memilih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	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Yakub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bagi-Nya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, </a:t>
            </a:r>
            <a:b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J : 	Israel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menjad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milik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	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kesayangan-Nya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.</a:t>
            </a:r>
            <a:b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P : 	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Ha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kaum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Israel,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pujilah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	TUHAN! </a:t>
            </a:r>
            <a:b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J : 	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Ha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kaum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Harun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,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pujilah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	TUHAN!</a:t>
            </a:r>
            <a:b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P :	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Ha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kaum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Lewi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,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pujilah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	TUHAN! </a:t>
            </a:r>
            <a:r>
              <a:rPr lang="en-US" sz="3600" b="1" dirty="0" smtClean="0">
                <a:latin typeface="Maiandra GD" pitchFamily="34" charset="0"/>
              </a:rPr>
              <a:t/>
            </a:r>
            <a:br>
              <a:rPr lang="en-US" sz="3600" b="1" dirty="0" smtClean="0">
                <a:latin typeface="Maiandra GD" pitchFamily="34" charset="0"/>
              </a:rPr>
            </a:br>
            <a:endParaRPr lang="en-US" b="1" dirty="0"/>
          </a:p>
        </p:txBody>
      </p:sp>
    </p:spTree>
  </p:cSld>
  <p:clrMapOvr>
    <a:masterClrMapping/>
  </p:clrMapOvr>
  <p:transition>
    <p:strips dir="ld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D:\file-file\dok gereja\slide backround\light-candle-in-darkness-300x225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>
          <a:xfrm>
            <a:off x="304800" y="0"/>
            <a:ext cx="8534401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Puji-Pujian</a:t>
            </a:r>
            <a:endParaRPr lang="en-US" sz="54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  <a:latin typeface="Comic Sans MS" pitchFamily="66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62000" y="1066800"/>
            <a:ext cx="7620000" cy="5632311"/>
          </a:xfrm>
          <a:prstGeom prst="rect">
            <a:avLst/>
          </a:prstGeom>
          <a:effectLst>
            <a:outerShdw blurRad="50800" dist="50800" dir="5400000" algn="ctr" rotWithShape="0">
              <a:srgbClr val="FFC000"/>
            </a:outerShdw>
          </a:effectLst>
        </p:spPr>
        <p:txBody>
          <a:bodyPr wrap="square">
            <a:spAutoFit/>
          </a:bodyPr>
          <a:lstStyle/>
          <a:p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J :	 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Hai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orang-orang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yang 	  	  	 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akut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akan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TUHAN, 	  	   	  	 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ujilah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TUHAN!</a:t>
            </a:r>
            <a:b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+J :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erpujilah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TUHAN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ari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	  	  	 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Sion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,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ia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yang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iam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	  	  	  	 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i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Yerusalem!Haleluya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!</a:t>
            </a:r>
            <a:b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+J :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enyanyi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NKB 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NO.116</a:t>
            </a:r>
            <a:endParaRPr lang="en-US" sz="36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aiandra GD" pitchFamily="34" charset="0"/>
            </a:endParaRPr>
          </a:p>
          <a:p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	  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“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Siapa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Yang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Berpegang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”</a:t>
            </a:r>
            <a:r>
              <a:rPr lang="en-US" sz="3600" b="1" dirty="0" smtClean="0">
                <a:latin typeface="Maiandra GD" pitchFamily="34" charset="0"/>
              </a:rPr>
              <a:t>	 	 	</a:t>
            </a:r>
            <a:br>
              <a:rPr lang="en-US" sz="3600" b="1" dirty="0" smtClean="0">
                <a:latin typeface="Maiandra GD" pitchFamily="34" charset="0"/>
              </a:rPr>
            </a:br>
            <a:endParaRPr lang="en-US" sz="3600" b="1" dirty="0"/>
          </a:p>
        </p:txBody>
      </p:sp>
      <p:sp>
        <p:nvSpPr>
          <p:cNvPr id="6" name="Rectangle 5"/>
          <p:cNvSpPr/>
          <p:nvPr/>
        </p:nvSpPr>
        <p:spPr>
          <a:xfrm>
            <a:off x="-285784" y="6019800"/>
            <a:ext cx="9715568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Ibadah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Minggu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14 April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2013</a:t>
            </a:r>
            <a:r>
              <a:rPr lang="en-US" sz="32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Jemaat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nar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Raran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 </a:t>
            </a:r>
            <a:endParaRPr lang="en-US" sz="4000" b="1" cap="none" spc="0" dirty="0">
              <a:ln w="11430"/>
              <a:solidFill>
                <a:schemeClr val="bg1"/>
              </a:soli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Vijaya" pitchFamily="34" charset="0"/>
              <a:cs typeface="Vijaya" pitchFamily="34" charset="0"/>
            </a:endParaRPr>
          </a:p>
        </p:txBody>
      </p:sp>
    </p:spTree>
  </p:cSld>
  <p:clrMapOvr>
    <a:masterClrMapping/>
  </p:clrMapOvr>
  <p:transition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7" dur="5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file-file\dok gereja\slide backround\images (3)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49174"/>
          </a:xfrm>
          <a:prstGeom prst="rect">
            <a:avLst/>
          </a:prstGeom>
          <a:noFill/>
        </p:spPr>
      </p:pic>
      <p:sp>
        <p:nvSpPr>
          <p:cNvPr id="3" name="TextBox 2"/>
          <p:cNvSpPr txBox="1"/>
          <p:nvPr/>
        </p:nvSpPr>
        <p:spPr>
          <a:xfrm>
            <a:off x="304800" y="838200"/>
            <a:ext cx="7543800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solidFill>
                  <a:schemeClr val="bg1"/>
                </a:solidFill>
              </a:rPr>
              <a:t>       PETUNJUK MEMASUKI IBADAH</a:t>
            </a:r>
          </a:p>
          <a:p>
            <a:pPr marL="514350" indent="-514350">
              <a:buAutoNum type="arabicPeriod"/>
            </a:pPr>
            <a:r>
              <a:rPr lang="en-US" sz="2800" dirty="0" smtClean="0">
                <a:solidFill>
                  <a:schemeClr val="bg1"/>
                </a:solidFill>
              </a:rPr>
              <a:t>BERUSAHALAH HADIR DI GEREJA SEBELUM IBADAH DIMULAI</a:t>
            </a:r>
          </a:p>
          <a:p>
            <a:pPr marL="514350" indent="-514350">
              <a:buAutoNum type="arabicPeriod"/>
            </a:pPr>
            <a:r>
              <a:rPr lang="en-US" sz="2800" dirty="0" smtClean="0">
                <a:solidFill>
                  <a:schemeClr val="bg1"/>
                </a:solidFill>
              </a:rPr>
              <a:t>JIKA TERLAMBAT, MASUKLAH PERLAHAN LAHAN.</a:t>
            </a:r>
          </a:p>
          <a:p>
            <a:pPr marL="514350" indent="-514350">
              <a:buAutoNum type="arabicPeriod"/>
            </a:pPr>
            <a:r>
              <a:rPr lang="en-US" sz="2800" dirty="0" smtClean="0">
                <a:solidFill>
                  <a:schemeClr val="bg1"/>
                </a:solidFill>
              </a:rPr>
              <a:t>APABILA SUDAH DIDALAM GEREJA PERHATIKANLAH KETEDUHAN SAMBIL MELENGKAPKAN DIRI DENGAN DOA</a:t>
            </a:r>
          </a:p>
          <a:p>
            <a:pPr marL="514350" indent="-514350">
              <a:buAutoNum type="arabicPeriod"/>
            </a:pPr>
            <a:r>
              <a:rPr lang="en-US" sz="2800" dirty="0" smtClean="0">
                <a:solidFill>
                  <a:schemeClr val="bg1"/>
                </a:solidFill>
              </a:rPr>
              <a:t>JEMAAT DAPAT MENINGGALKAN TEMPAT IBADAH SESUDAH KHADIM TURUN DARI MIMBAR DAN DOA SYUKUR</a:t>
            </a:r>
          </a:p>
          <a:p>
            <a:pPr marL="514350" indent="-514350">
              <a:buAutoNum type="arabicPeriod"/>
            </a:pPr>
            <a:r>
              <a:rPr lang="en-US" sz="2800" dirty="0" smtClean="0">
                <a:solidFill>
                  <a:schemeClr val="bg1"/>
                </a:solidFill>
              </a:rPr>
              <a:t>TERIMA KASIH UNTUK TIDAK MENGAKTIFKAN HP DIDALAM GEREJA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:\file-file\dok gereja\slide backround\gitar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1113" y="0"/>
            <a:ext cx="91551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0" y="0"/>
            <a:ext cx="9144000" cy="769441"/>
          </a:xfrm>
          <a:prstGeom prst="rect">
            <a:avLst/>
          </a:prstGeom>
          <a:solidFill>
            <a:srgbClr val="00B050">
              <a:alpha val="52000"/>
            </a:srgbClr>
          </a:soli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26C96">
                <a:alpha val="50000"/>
              </a:srgbClr>
            </a:prstShdw>
          </a:effectLst>
        </p:spPr>
        <p:txBody>
          <a:bodyPr wrap="square">
            <a:spAutoFit/>
          </a:bodyPr>
          <a:lstStyle/>
          <a:p>
            <a:pPr marL="914400" lvl="0" indent="-9144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Siapa</a:t>
            </a:r>
            <a:r>
              <a:rPr lang="en-US" sz="4400" b="1" kern="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 Yang </a:t>
            </a: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Berpegang</a:t>
            </a:r>
            <a:endParaRPr lang="en-US" sz="3600" b="1" kern="0" dirty="0">
              <a:solidFill>
                <a:srgbClr val="FFFF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4800" y="1371600"/>
            <a:ext cx="975360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Siapa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 yang </a:t>
            </a:r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berpegang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 </a:t>
            </a:r>
          </a:p>
          <a:p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Pada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 </a:t>
            </a:r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sabda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 </a:t>
            </a:r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Tuhan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 </a:t>
            </a:r>
          </a:p>
          <a:p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dan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 </a:t>
            </a:r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setia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 </a:t>
            </a:r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mematuhinya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,</a:t>
            </a:r>
            <a:b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</a:br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hidupnya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 </a:t>
            </a:r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mulia</a:t>
            </a:r>
            <a:endParaRPr lang="en-US" sz="4800" dirty="0" smtClean="0">
              <a:solidFill>
                <a:schemeClr val="bg1"/>
              </a:solidFill>
              <a:latin typeface="Narkisim" pitchFamily="34" charset="-79"/>
              <a:cs typeface="Narkisim" pitchFamily="34" charset="-79"/>
            </a:endParaRPr>
          </a:p>
          <a:p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dalam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 </a:t>
            </a:r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cah’ya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 </a:t>
            </a:r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baka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 </a:t>
            </a:r>
          </a:p>
          <a:p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bersekutu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 </a:t>
            </a:r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dengan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 </a:t>
            </a:r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Tuhannya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.</a:t>
            </a:r>
            <a:endParaRPr lang="en-US" sz="4800" dirty="0">
              <a:solidFill>
                <a:schemeClr val="bg1"/>
              </a:solidFill>
              <a:latin typeface="Narkisim" pitchFamily="34" charset="-79"/>
              <a:cs typeface="Narkisim" pitchFamily="34" charset="-79"/>
            </a:endParaRPr>
          </a:p>
        </p:txBody>
      </p:sp>
    </p:spTree>
  </p:cSld>
  <p:clrMapOvr>
    <a:masterClrMapping/>
  </p:clrMapOvr>
  <p:transition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:\file-file\dok gereja\slide backround\gitar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1113" y="0"/>
            <a:ext cx="91551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0" y="0"/>
            <a:ext cx="9144000" cy="769441"/>
          </a:xfrm>
          <a:prstGeom prst="rect">
            <a:avLst/>
          </a:prstGeom>
          <a:solidFill>
            <a:srgbClr val="00B050">
              <a:alpha val="52000"/>
            </a:srgbClr>
          </a:soli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26C96">
                <a:alpha val="50000"/>
              </a:srgbClr>
            </a:prstShdw>
          </a:effectLst>
        </p:spPr>
        <p:txBody>
          <a:bodyPr wrap="square">
            <a:spAutoFit/>
          </a:bodyPr>
          <a:lstStyle/>
          <a:p>
            <a:pPr marL="914400" lvl="0" indent="-9144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Siapa</a:t>
            </a:r>
            <a:r>
              <a:rPr lang="en-US" sz="4400" b="1" kern="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 Yang </a:t>
            </a: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Berpegang</a:t>
            </a:r>
            <a:endParaRPr lang="en-US" sz="3600" b="1" kern="0" dirty="0">
              <a:solidFill>
                <a:srgbClr val="FFFF0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33400" y="1447800"/>
            <a:ext cx="975360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Refrein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/>
            </a:r>
            <a:b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</a:br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Percayalah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 </a:t>
            </a:r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dan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 </a:t>
            </a:r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pegang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 </a:t>
            </a:r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sabdaNya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:</a:t>
            </a:r>
            <a:b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</a:br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hidupmu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 </a:t>
            </a:r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dalam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 </a:t>
            </a:r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Yesus</a:t>
            </a:r>
            <a:endParaRPr lang="en-US" sz="4800" dirty="0" smtClean="0">
              <a:solidFill>
                <a:schemeClr val="bg1"/>
              </a:solidFill>
              <a:latin typeface="Narkisim" pitchFamily="34" charset="-79"/>
              <a:cs typeface="Narkisim" pitchFamily="34" charset="-79"/>
            </a:endParaRPr>
          </a:p>
          <a:p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sungguh</a:t>
            </a:r>
            <a:r>
              <a:rPr lang="en-US" sz="4800" dirty="0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 </a:t>
            </a:r>
            <a:r>
              <a:rPr lang="en-US" sz="4800" dirty="0" err="1" smtClean="0">
                <a:solidFill>
                  <a:schemeClr val="bg1"/>
                </a:solidFill>
                <a:latin typeface="Narkisim" pitchFamily="34" charset="-79"/>
                <a:cs typeface="Narkisim" pitchFamily="34" charset="-79"/>
              </a:rPr>
              <a:t>bahagia</a:t>
            </a:r>
            <a:endParaRPr lang="en-US" sz="4800" dirty="0">
              <a:latin typeface="Narkisim" pitchFamily="34" charset="-79"/>
              <a:cs typeface="Narkisim" pitchFamily="34" charset="-79"/>
            </a:endParaRPr>
          </a:p>
        </p:txBody>
      </p:sp>
    </p:spTree>
  </p:cSld>
  <p:clrMapOvr>
    <a:masterClrMapping/>
  </p:clrMapOvr>
  <p:transition>
    <p:comb dir="vert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D:\file-file\dok gereja\slide backround\light-candle-in-darkness-300x225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>
          <a:xfrm>
            <a:off x="304800" y="0"/>
            <a:ext cx="8534401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Pembacaan</a:t>
            </a:r>
            <a:r>
              <a:rPr lang="en-US" sz="5400" b="1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 </a:t>
            </a:r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Alkitab</a:t>
            </a:r>
            <a:endParaRPr lang="en-US" sz="54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  <a:latin typeface="Comic Sans MS" pitchFamily="66" charset="0"/>
            </a:endParaRPr>
          </a:p>
        </p:txBody>
      </p:sp>
      <p:sp>
        <p:nvSpPr>
          <p:cNvPr id="6" name="Content Placeholder 14"/>
          <p:cNvSpPr txBox="1">
            <a:spLocks/>
          </p:cNvSpPr>
          <p:nvPr/>
        </p:nvSpPr>
        <p:spPr>
          <a:xfrm>
            <a:off x="-685800" y="609600"/>
            <a:ext cx="8458200" cy="4724400"/>
          </a:xfrm>
          <a:prstGeom prst="rect">
            <a:avLst/>
          </a:prstGeom>
          <a:effectLst>
            <a:outerShdw blurRad="50800" dist="50800" dir="5400000" algn="ctr" rotWithShape="0">
              <a:srgbClr val="FFC000"/>
            </a:outerShdw>
          </a:effectLst>
        </p:spPr>
        <p:txBody>
          <a:bodyPr/>
          <a:lstStyle/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2800" b="1" dirty="0">
                <a:solidFill>
                  <a:schemeClr val="bg1"/>
                </a:solidFill>
                <a:latin typeface="Maiandra GD" pitchFamily="34" charset="0"/>
              </a:rPr>
              <a:t/>
            </a:r>
            <a:br>
              <a:rPr lang="en-US" sz="2800" b="1" dirty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P:	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Marilah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kita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berdoa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 : </a:t>
            </a:r>
            <a:b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	 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Dengarkan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Firman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 TUHAN : </a:t>
            </a:r>
            <a:endParaRPr lang="en-US" sz="3600" b="1" dirty="0" smtClean="0">
              <a:solidFill>
                <a:schemeClr val="bg1"/>
              </a:solidFill>
              <a:latin typeface="Maiandra GD" pitchFamily="34" charset="0"/>
            </a:endParaRP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endParaRPr lang="en-US" sz="3600" b="1" dirty="0" smtClean="0">
              <a:solidFill>
                <a:schemeClr val="bg1"/>
              </a:solidFill>
              <a:latin typeface="Maiandra GD" pitchFamily="34" charset="0"/>
            </a:endParaRP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endParaRPr lang="en-US" sz="3600" b="1" dirty="0" smtClean="0">
              <a:solidFill>
                <a:schemeClr val="bg1"/>
              </a:solidFill>
              <a:latin typeface="Maiandra GD" pitchFamily="34" charset="0"/>
            </a:endParaRP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	 		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/>
            </a:r>
            <a:b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	TUHAN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kiranya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memberkati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	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pembacaan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Firman-Nya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 yang </a:t>
            </a: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	</a:t>
            </a:r>
            <a:r>
              <a:rPr lang="en-US" sz="3600" b="1" dirty="0" err="1" smtClean="0">
                <a:solidFill>
                  <a:schemeClr val="bg1"/>
                </a:solidFill>
                <a:latin typeface="Maiandra GD" pitchFamily="34" charset="0"/>
              </a:rPr>
              <a:t>suci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. </a:t>
            </a:r>
            <a:r>
              <a:rPr lang="en-US" sz="3600" b="1" dirty="0" err="1">
                <a:solidFill>
                  <a:schemeClr val="bg1"/>
                </a:solidFill>
                <a:latin typeface="Maiandra GD" pitchFamily="34" charset="0"/>
              </a:rPr>
              <a:t>Amin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.</a:t>
            </a:r>
            <a:b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3600" dirty="0"/>
              <a:t/>
            </a:r>
            <a:br>
              <a:rPr lang="en-US" sz="3600" dirty="0"/>
            </a:br>
            <a:r>
              <a:rPr lang="en-US" sz="3600" dirty="0"/>
              <a:t/>
            </a:r>
            <a:br>
              <a:rPr lang="en-US" sz="3600" dirty="0"/>
            </a:br>
            <a:endParaRPr kumimoji="0" lang="en-US" sz="36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WordArt 6"/>
          <p:cNvSpPr>
            <a:spLocks noChangeArrowheads="1" noChangeShapeType="1" noTextEdit="1"/>
          </p:cNvSpPr>
          <p:nvPr/>
        </p:nvSpPr>
        <p:spPr bwMode="auto">
          <a:xfrm>
            <a:off x="4724400" y="5943600"/>
            <a:ext cx="3657600" cy="5334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Jemaat</a:t>
            </a:r>
            <a:r>
              <a:rPr lang="en-US" sz="213200" b="1" kern="10" spc="720" dirty="0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 </a:t>
            </a:r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duduk</a:t>
            </a:r>
            <a:endParaRPr lang="en-US" sz="213200" b="1" kern="10" spc="720" dirty="0">
              <a:ln w="3175">
                <a:solidFill>
                  <a:srgbClr val="FF9900"/>
                </a:solidFill>
                <a:round/>
                <a:headEnd/>
                <a:tailEnd/>
              </a:ln>
              <a:solidFill>
                <a:srgbClr val="FF9900"/>
              </a:solidFill>
              <a:effectLst>
                <a:outerShdw dist="45791" dir="3378596" algn="ctr" rotWithShape="0">
                  <a:srgbClr val="4D4D4D">
                    <a:alpha val="79999"/>
                  </a:srgbClr>
                </a:outerShdw>
              </a:effectLst>
              <a:latin typeface="Maiandra GD"/>
            </a:endParaRPr>
          </a:p>
        </p:txBody>
      </p:sp>
      <p:sp>
        <p:nvSpPr>
          <p:cNvPr id="9" name="WordArt 6"/>
          <p:cNvSpPr>
            <a:spLocks noChangeArrowheads="1" noChangeShapeType="1" noTextEdit="1"/>
          </p:cNvSpPr>
          <p:nvPr/>
        </p:nvSpPr>
        <p:spPr bwMode="auto">
          <a:xfrm>
            <a:off x="1371600" y="2438400"/>
            <a:ext cx="5638800" cy="12192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Keluaran</a:t>
            </a:r>
            <a:r>
              <a:rPr lang="en-US" sz="213200" b="1" kern="10" spc="720" dirty="0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 15:1-21</a:t>
            </a:r>
          </a:p>
          <a:p>
            <a:pPr algn="ctr"/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Kolose</a:t>
            </a:r>
            <a:r>
              <a:rPr lang="en-US" sz="213200" b="1" kern="10" spc="720" dirty="0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 3:16-17</a:t>
            </a:r>
            <a:endParaRPr lang="en-US" sz="213200" b="1" kern="10" spc="720" dirty="0">
              <a:ln w="3175">
                <a:solidFill>
                  <a:srgbClr val="FF9900"/>
                </a:solidFill>
                <a:round/>
                <a:headEnd/>
                <a:tailEnd/>
              </a:ln>
              <a:solidFill>
                <a:schemeClr val="bg1"/>
              </a:solidFill>
              <a:effectLst>
                <a:outerShdw dist="45791" dir="3378596" algn="ctr" rotWithShape="0">
                  <a:srgbClr val="4D4D4D">
                    <a:alpha val="79999"/>
                  </a:srgbClr>
                </a:outerShdw>
              </a:effectLst>
              <a:latin typeface="Maiandra GD"/>
            </a:endParaRPr>
          </a:p>
        </p:txBody>
      </p:sp>
    </p:spTree>
  </p:cSld>
  <p:clrMapOvr>
    <a:masterClrMapping/>
  </p:clrMapOvr>
  <p:transition>
    <p:spli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repeatCount="3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" presetID="35" presetClass="emph" presetSubtype="0" repeatCount="3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8" dur="1000" fill="hold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35" presetClass="emph" presetSubtype="0" repeatCount="3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10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5" presetClass="emph" presetSubtype="0" repeatCount="3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12" dur="10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build="allAtOnce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D:\file-file\dok gereja\slide backround\musical_notes-wallpaper-1920x12002-645x446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948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 Box 2"/>
          <p:cNvSpPr txBox="1">
            <a:spLocks noChangeArrowheads="1"/>
          </p:cNvSpPr>
          <p:nvPr/>
        </p:nvSpPr>
        <p:spPr bwMode="auto">
          <a:xfrm>
            <a:off x="2133600" y="2057400"/>
            <a:ext cx="5181600" cy="2308324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26C96">
                <a:alpha val="50000"/>
              </a:srgbClr>
            </a:prstShdw>
          </a:effectLst>
        </p:spPr>
        <p:txBody>
          <a:bodyPr wrap="square">
            <a:spAutoFit/>
          </a:bodyPr>
          <a:lstStyle/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7200" b="1" kern="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PUJI PUJIAN</a:t>
            </a:r>
            <a:endParaRPr lang="en-US" sz="6000" b="1" kern="0" dirty="0">
              <a:solidFill>
                <a:srgbClr val="FFFF00"/>
              </a:solidFill>
            </a:endParaRPr>
          </a:p>
        </p:txBody>
      </p:sp>
      <p:pic>
        <p:nvPicPr>
          <p:cNvPr id="4" name="Picture 27" descr="Untitled-6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lum bright="11000"/>
          </a:blip>
          <a:srcRect/>
          <a:stretch>
            <a:fillRect/>
          </a:stretch>
        </p:blipFill>
        <p:spPr bwMode="auto">
          <a:xfrm>
            <a:off x="1219200" y="4114800"/>
            <a:ext cx="2230824" cy="1728787"/>
          </a:xfrm>
          <a:prstGeom prst="rect">
            <a:avLst/>
          </a:prstGeom>
          <a:noFill/>
        </p:spPr>
      </p:pic>
      <p:sp>
        <p:nvSpPr>
          <p:cNvPr id="5" name="Rectangle 4"/>
          <p:cNvSpPr/>
          <p:nvPr/>
        </p:nvSpPr>
        <p:spPr>
          <a:xfrm>
            <a:off x="-285784" y="6019800"/>
            <a:ext cx="9715568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Ibadah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Minggu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14 April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2013</a:t>
            </a:r>
            <a:r>
              <a:rPr lang="en-US" sz="32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Jemaat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nar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Raran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 </a:t>
            </a:r>
            <a:endParaRPr lang="en-US" sz="4000" b="1" cap="none" spc="0" dirty="0">
              <a:ln w="11430"/>
              <a:solidFill>
                <a:schemeClr val="bg1"/>
              </a:soli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Vijaya" pitchFamily="34" charset="0"/>
              <a:cs typeface="Vijaya" pitchFamily="34" charset="0"/>
            </a:endParaRPr>
          </a:p>
        </p:txBody>
      </p:sp>
    </p:spTree>
  </p:cSld>
  <p:clrMapOvr>
    <a:masterClrMapping/>
  </p:clrMapOvr>
  <p:transition>
    <p:wedg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70" decel="100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" dur="770" decel="100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0" dur="77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2" dur="77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4" presetID="12" presetClass="entr" presetSubtype="2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16" dur="5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D:\file-file\dok gereja\slide backround\light-candle-in-darkness-300x225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>
          <a:xfrm>
            <a:off x="304800" y="0"/>
            <a:ext cx="8534401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Pengakuan</a:t>
            </a:r>
            <a:r>
              <a:rPr lang="en-US" sz="5400" b="1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 </a:t>
            </a:r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Iman</a:t>
            </a:r>
            <a:endParaRPr lang="en-US" sz="54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  <a:latin typeface="Comic Sans MS" pitchFamily="66" charset="0"/>
            </a:endParaRPr>
          </a:p>
        </p:txBody>
      </p:sp>
      <p:sp>
        <p:nvSpPr>
          <p:cNvPr id="5" name="Content Placeholder 14"/>
          <p:cNvSpPr txBox="1">
            <a:spLocks/>
          </p:cNvSpPr>
          <p:nvPr/>
        </p:nvSpPr>
        <p:spPr>
          <a:xfrm>
            <a:off x="-304800" y="1447800"/>
            <a:ext cx="7543800" cy="3886200"/>
          </a:xfrm>
          <a:prstGeom prst="rect">
            <a:avLst/>
          </a:prstGeom>
          <a:effectLst>
            <a:outerShdw blurRad="50800" dist="50800" dir="5400000" algn="ctr" rotWithShape="0">
              <a:srgbClr val="FFC000"/>
            </a:outerShdw>
          </a:effectLst>
        </p:spPr>
        <p:txBody>
          <a:bodyPr/>
          <a:lstStyle/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2800" dirty="0"/>
              <a:t/>
            </a:r>
            <a:br>
              <a:rPr lang="en-US" sz="2800" dirty="0"/>
            </a:b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 : 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	TUHAN</a:t>
            </a: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, </a:t>
            </a:r>
            <a:r>
              <a:rPr lang="en-US" sz="36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ambahkanlah</a:t>
            </a: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	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iman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ami</a:t>
            </a: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,</a:t>
            </a:r>
            <a:b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J : 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	Dan </a:t>
            </a:r>
            <a:r>
              <a:rPr lang="en-US" sz="36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ebenaran</a:t>
            </a: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-Mu </a:t>
            </a:r>
            <a:r>
              <a:rPr lang="en-US" sz="36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akan</a:t>
            </a: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	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emerdekakan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ami</a:t>
            </a: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.</a:t>
            </a:r>
            <a:r>
              <a:rPr lang="en-US" sz="3600" b="1" dirty="0">
                <a:latin typeface="Maiandra GD" pitchFamily="34" charset="0"/>
              </a:rPr>
              <a:t/>
            </a:r>
            <a:br>
              <a:rPr lang="en-US" sz="3600" b="1" dirty="0">
                <a:latin typeface="Maiandra GD" pitchFamily="34" charset="0"/>
              </a:rPr>
            </a:br>
            <a:endParaRPr kumimoji="0" lang="en-US" sz="36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aiandra GD" pitchFamily="34" charset="0"/>
            </a:endParaRPr>
          </a:p>
        </p:txBody>
      </p:sp>
      <p:sp>
        <p:nvSpPr>
          <p:cNvPr id="7" name="WordArt 6"/>
          <p:cNvSpPr>
            <a:spLocks noChangeArrowheads="1" noChangeShapeType="1" noTextEdit="1"/>
          </p:cNvSpPr>
          <p:nvPr/>
        </p:nvSpPr>
        <p:spPr bwMode="auto">
          <a:xfrm>
            <a:off x="5181600" y="4876800"/>
            <a:ext cx="3200400" cy="9144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Jemaat</a:t>
            </a:r>
            <a:r>
              <a:rPr lang="en-US" sz="213200" b="1" kern="10" spc="720" dirty="0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 </a:t>
            </a:r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berdiri</a:t>
            </a:r>
            <a:endParaRPr lang="en-US" sz="213200" b="1" kern="10" spc="720" dirty="0">
              <a:ln w="3175">
                <a:solidFill>
                  <a:srgbClr val="FF9900"/>
                </a:solidFill>
                <a:round/>
                <a:headEnd/>
                <a:tailEnd/>
              </a:ln>
              <a:solidFill>
                <a:srgbClr val="FF9900"/>
              </a:solidFill>
              <a:effectLst>
                <a:outerShdw dist="45791" dir="3378596" algn="ctr" rotWithShape="0">
                  <a:srgbClr val="4D4D4D">
                    <a:alpha val="79999"/>
                  </a:srgbClr>
                </a:outerShdw>
              </a:effectLst>
              <a:latin typeface="Maiandra GD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-285784" y="6019800"/>
            <a:ext cx="9715568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Ibadah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Minggu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14 April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2013</a:t>
            </a:r>
            <a:r>
              <a:rPr lang="en-US" sz="32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Jemaat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nar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Raran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 </a:t>
            </a:r>
            <a:endParaRPr lang="en-US" sz="4000" b="1" cap="none" spc="0" dirty="0">
              <a:ln w="11430"/>
              <a:solidFill>
                <a:schemeClr val="bg1"/>
              </a:soli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Vijaya" pitchFamily="34" charset="0"/>
              <a:cs typeface="Vijaya" pitchFamily="34" charset="0"/>
            </a:endParaRPr>
          </a:p>
        </p:txBody>
      </p:sp>
    </p:spTree>
  </p:cSld>
  <p:clrMapOvr>
    <a:masterClrMapping/>
  </p:clrMapOvr>
  <p:transition>
    <p:circl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repeatCount="3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" presetID="12" presetClass="entr" presetSubtype="2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9" dur="5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6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D:\file-file\dok gereja\slide backround\light-candle-in-darkness-300x225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>
          <a:xfrm>
            <a:off x="304800" y="0"/>
            <a:ext cx="8534401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Pengakuan</a:t>
            </a:r>
            <a:r>
              <a:rPr lang="en-US" sz="5400" b="1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 </a:t>
            </a:r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Iman</a:t>
            </a:r>
            <a:endParaRPr lang="en-US" sz="54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  <a:latin typeface="Comic Sans MS" pitchFamily="66" charset="0"/>
            </a:endParaRPr>
          </a:p>
        </p:txBody>
      </p:sp>
      <p:sp>
        <p:nvSpPr>
          <p:cNvPr id="6" name="Content Placeholder 14"/>
          <p:cNvSpPr txBox="1">
            <a:spLocks/>
          </p:cNvSpPr>
          <p:nvPr/>
        </p:nvSpPr>
        <p:spPr>
          <a:xfrm>
            <a:off x="0" y="533400"/>
            <a:ext cx="8763000" cy="4800600"/>
          </a:xfrm>
          <a:prstGeom prst="rect">
            <a:avLst/>
          </a:prstGeom>
          <a:effectLst>
            <a:outerShdw blurRad="50800" dist="50800" dir="5400000" algn="ctr" rotWithShape="0">
              <a:srgbClr val="FFC000"/>
            </a:outerShdw>
          </a:effectLst>
        </p:spPr>
        <p:txBody>
          <a:bodyPr/>
          <a:lstStyle/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/>
            </a:r>
            <a:br>
              <a:rPr lang="en-US" sz="3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Aku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percaya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kepada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 Allah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Bapa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, Yang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Mahakuasa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,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Khalik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langit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dan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bumi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.</a:t>
            </a:r>
            <a:br>
              <a:rPr lang="en-US" sz="3600" dirty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Dan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kepada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Yesus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Kristus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,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Anak-Nya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 yang Tunggal, TUHAN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kita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, yang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dikandung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daripada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Roh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 Kudus,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lahir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dari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anak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dara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 Maria, yang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menderita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di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bawah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Pemerintahan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 Pontius Pilatus,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disalibkan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, </a:t>
            </a:r>
            <a:r>
              <a:rPr lang="en-US" sz="3600" dirty="0" err="1">
                <a:solidFill>
                  <a:schemeClr val="bg1"/>
                </a:solidFill>
                <a:latin typeface="Maiandra GD" pitchFamily="34" charset="0"/>
              </a:rPr>
              <a:t>mati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dirty="0" err="1" smtClean="0">
                <a:solidFill>
                  <a:schemeClr val="bg1"/>
                </a:solidFill>
                <a:latin typeface="Maiandra GD" pitchFamily="34" charset="0"/>
              </a:rPr>
              <a:t>dan</a:t>
            </a:r>
            <a:r>
              <a:rPr lang="en-US" sz="3600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3600" dirty="0" err="1" smtClean="0">
                <a:solidFill>
                  <a:schemeClr val="bg1"/>
                </a:solidFill>
                <a:latin typeface="Maiandra GD" pitchFamily="34" charset="0"/>
              </a:rPr>
              <a:t>dikuburkan</a:t>
            </a:r>
            <a:r>
              <a:rPr lang="en-US" sz="3600" dirty="0">
                <a:solidFill>
                  <a:schemeClr val="bg1"/>
                </a:solidFill>
                <a:latin typeface="Maiandra GD" pitchFamily="34" charset="0"/>
              </a:rPr>
              <a:t>, </a:t>
            </a:r>
            <a:endParaRPr kumimoji="0" lang="en-US" sz="36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uLnTx/>
              <a:uFillTx/>
              <a:latin typeface="Maiandra GD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-285784" y="6019800"/>
            <a:ext cx="9715568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Ibadah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Minggu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14 April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2013</a:t>
            </a:r>
            <a:r>
              <a:rPr lang="en-US" sz="32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Jemaat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nar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Raran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 </a:t>
            </a:r>
            <a:endParaRPr lang="en-US" sz="4000" b="1" cap="none" spc="0" dirty="0">
              <a:ln w="11430"/>
              <a:solidFill>
                <a:schemeClr val="bg1"/>
              </a:soli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Vijaya" pitchFamily="34" charset="0"/>
              <a:cs typeface="Vijaya" pitchFamily="34" charset="0"/>
            </a:endParaRPr>
          </a:p>
        </p:txBody>
      </p:sp>
    </p:spTree>
  </p:cSld>
  <p:clrMapOvr>
    <a:masterClrMapping/>
  </p:clrMapOvr>
  <p:transition>
    <p:blinds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7" dur="5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D:\file-file\dok gereja\slide backround\light-candle-in-darkness-300x225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>
          <a:xfrm>
            <a:off x="304800" y="0"/>
            <a:ext cx="8534401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Pengakuan</a:t>
            </a:r>
            <a:r>
              <a:rPr lang="en-US" sz="5400" b="1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 </a:t>
            </a:r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Iman</a:t>
            </a:r>
            <a:endParaRPr lang="en-US" sz="54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  <a:latin typeface="Comic Sans MS" pitchFamily="66" charset="0"/>
            </a:endParaRPr>
          </a:p>
        </p:txBody>
      </p:sp>
      <p:sp>
        <p:nvSpPr>
          <p:cNvPr id="5" name="Content Placeholder 14"/>
          <p:cNvSpPr txBox="1">
            <a:spLocks/>
          </p:cNvSpPr>
          <p:nvPr/>
        </p:nvSpPr>
        <p:spPr>
          <a:xfrm>
            <a:off x="0" y="1371600"/>
            <a:ext cx="8229600" cy="2286000"/>
          </a:xfrm>
          <a:prstGeom prst="rect">
            <a:avLst/>
          </a:prstGeom>
        </p:spPr>
        <p:txBody>
          <a:bodyPr/>
          <a:lstStyle/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urun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alam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erajaan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aut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,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ada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hari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yang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etiga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bangkit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pula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ari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antara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orang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ati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,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naik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e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surga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,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uduk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i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sebelah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anan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Allah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Bapa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, Yang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ahakuasa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an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akan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atang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ari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sana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untuk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enghakimi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orang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yang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hidup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an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yang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ati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.</a:t>
            </a:r>
            <a:b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endParaRPr lang="en-US" sz="3600" b="1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aiandra GD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-285784" y="6019800"/>
            <a:ext cx="9715568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Ibadah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Minggu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14 </a:t>
            </a:r>
            <a:r>
              <a:rPr lang="en-US" sz="3200" b="1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april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2013</a:t>
            </a:r>
            <a:r>
              <a:rPr lang="en-US" sz="32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Jemaat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nar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Raran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 </a:t>
            </a:r>
            <a:endParaRPr lang="en-US" sz="4000" b="1" cap="none" spc="0" dirty="0">
              <a:ln w="11430"/>
              <a:solidFill>
                <a:schemeClr val="bg1"/>
              </a:soli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Vijaya" pitchFamily="34" charset="0"/>
              <a:cs typeface="Vijay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7" dur="5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D:\file-file\dok gereja\slide backround\light-candle-in-darkness-300x225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>
          <a:xfrm>
            <a:off x="304800" y="0"/>
            <a:ext cx="8534401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Pengakuan</a:t>
            </a:r>
            <a:r>
              <a:rPr lang="en-US" sz="5400" b="1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 </a:t>
            </a:r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Iman</a:t>
            </a:r>
            <a:endParaRPr lang="en-US" sz="54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  <a:latin typeface="Comic Sans MS" pitchFamily="66" charset="0"/>
            </a:endParaRPr>
          </a:p>
        </p:txBody>
      </p:sp>
      <p:sp>
        <p:nvSpPr>
          <p:cNvPr id="6" name="Content Placeholder 14"/>
          <p:cNvSpPr txBox="1">
            <a:spLocks/>
          </p:cNvSpPr>
          <p:nvPr/>
        </p:nvSpPr>
        <p:spPr>
          <a:xfrm>
            <a:off x="228600" y="1371600"/>
            <a:ext cx="8686800" cy="3962400"/>
          </a:xfrm>
          <a:prstGeom prst="rect">
            <a:avLst/>
          </a:prstGeom>
        </p:spPr>
        <p:txBody>
          <a:bodyPr/>
          <a:lstStyle/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3600" dirty="0" smtClean="0"/>
              <a:t>         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Aku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ercaya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epada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Roh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Kudus;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Gereja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yang kudus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an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am;</a:t>
            </a:r>
            <a:b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ersekutuan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orang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kudus;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engampunan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osa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;</a:t>
            </a:r>
            <a:b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ebangkitan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aging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; Dan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hidup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yang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ekal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.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Amin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  <a:endParaRPr kumimoji="0" lang="en-US" sz="36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-285784" y="6019800"/>
            <a:ext cx="9715568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Ibadah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Minggu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14 </a:t>
            </a:r>
            <a:r>
              <a:rPr lang="en-US" sz="3200" b="1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april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2013</a:t>
            </a:r>
            <a:r>
              <a:rPr lang="en-US" sz="32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Jemaat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nar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Raran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 </a:t>
            </a:r>
            <a:endParaRPr lang="en-US" sz="4000" b="1" cap="none" spc="0" dirty="0">
              <a:ln w="11430"/>
              <a:solidFill>
                <a:schemeClr val="bg1"/>
              </a:soli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Vijaya" pitchFamily="34" charset="0"/>
              <a:cs typeface="Vijay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7" dur="5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4"/>
          <p:cNvSpPr txBox="1">
            <a:spLocks/>
          </p:cNvSpPr>
          <p:nvPr/>
        </p:nvSpPr>
        <p:spPr>
          <a:xfrm>
            <a:off x="533400" y="838200"/>
            <a:ext cx="8305800" cy="4495800"/>
          </a:xfrm>
          <a:prstGeom prst="rect">
            <a:avLst/>
          </a:prstGeom>
        </p:spPr>
        <p:txBody>
          <a:bodyPr/>
          <a:lstStyle/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Maiandra GD" pitchFamily="34" charset="0"/>
              </a:rPr>
              <a:t>	</a:t>
            </a: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Maiandra GD" pitchFamily="34" charset="0"/>
              </a:rPr>
              <a:t>	</a:t>
            </a:r>
            <a:r>
              <a:rPr lang="en-US" sz="40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Maiandra GD" pitchFamily="34" charset="0"/>
              </a:rPr>
              <a:t> </a:t>
            </a:r>
            <a:r>
              <a:rPr lang="en-US" sz="4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Maiandra GD" pitchFamily="34" charset="0"/>
              </a:rPr>
              <a:t/>
            </a:r>
            <a:br>
              <a:rPr lang="en-US" sz="4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Maiandra GD" pitchFamily="34" charset="0"/>
              </a:rPr>
            </a:br>
            <a:r>
              <a:rPr lang="en-US" sz="4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Maiandra GD" pitchFamily="34" charset="0"/>
              </a:rPr>
              <a:t/>
            </a:r>
            <a:br>
              <a:rPr lang="en-US" sz="4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Maiandra GD" pitchFamily="34" charset="0"/>
              </a:rPr>
            </a:br>
            <a:endParaRPr kumimoji="0" lang="en-US" sz="4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aiandra GD" pitchFamily="34" charset="0"/>
            </a:endParaRPr>
          </a:p>
        </p:txBody>
      </p:sp>
      <p:sp>
        <p:nvSpPr>
          <p:cNvPr id="4" name="WordArt 6"/>
          <p:cNvSpPr>
            <a:spLocks noChangeArrowheads="1" noChangeShapeType="1" noTextEdit="1"/>
          </p:cNvSpPr>
          <p:nvPr>
            <p:custDataLst>
              <p:tags r:id="rId1"/>
            </p:custDataLst>
          </p:nvPr>
        </p:nvSpPr>
        <p:spPr bwMode="auto">
          <a:xfrm>
            <a:off x="5562600" y="5867400"/>
            <a:ext cx="3200400" cy="5842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b="1" kern="10" spc="720" dirty="0" err="1">
                <a:ln w="2540">
                  <a:noFill/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blurRad="50800" dist="38100" dir="18900000" algn="bl" rotWithShape="0">
                    <a:schemeClr val="accent5">
                      <a:lumMod val="50000"/>
                      <a:alpha val="40000"/>
                    </a:schemeClr>
                  </a:outerShdw>
                </a:effectLst>
                <a:latin typeface="Maiandra GD"/>
              </a:rPr>
              <a:t>Ibadah</a:t>
            </a:r>
            <a:r>
              <a:rPr lang="en-US" b="1" kern="10" spc="720" dirty="0">
                <a:ln w="2540">
                  <a:noFill/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blurRad="50800" dist="38100" dir="18900000" algn="bl" rotWithShape="0">
                    <a:schemeClr val="accent5">
                      <a:lumMod val="50000"/>
                      <a:alpha val="40000"/>
                    </a:schemeClr>
                  </a:outerShdw>
                </a:effectLst>
                <a:latin typeface="Maiandra GD"/>
              </a:rPr>
              <a:t> </a:t>
            </a:r>
            <a:r>
              <a:rPr lang="en-US" b="1" kern="10" spc="720" dirty="0" err="1">
                <a:ln w="2540">
                  <a:noFill/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blurRad="50800" dist="38100" dir="18900000" algn="bl" rotWithShape="0">
                    <a:schemeClr val="accent5">
                      <a:lumMod val="50000"/>
                      <a:alpha val="40000"/>
                    </a:schemeClr>
                  </a:outerShdw>
                </a:effectLst>
                <a:latin typeface="Maiandra GD"/>
              </a:rPr>
              <a:t>Minggu</a:t>
            </a:r>
            <a:r>
              <a:rPr lang="en-US" b="1" kern="10" spc="720" dirty="0">
                <a:ln w="2540">
                  <a:noFill/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blurRad="50800" dist="38100" dir="18900000" algn="bl" rotWithShape="0">
                    <a:schemeClr val="accent5">
                      <a:lumMod val="50000"/>
                      <a:alpha val="40000"/>
                    </a:schemeClr>
                  </a:outerShdw>
                </a:effectLst>
                <a:latin typeface="Maiandra GD"/>
              </a:rPr>
              <a:t> </a:t>
            </a:r>
            <a:endParaRPr lang="en-US" b="1" kern="10" spc="720" dirty="0" smtClean="0">
              <a:ln w="2540">
                <a:noFill/>
                <a:round/>
                <a:headEnd/>
                <a:tailEnd/>
              </a:ln>
              <a:solidFill>
                <a:schemeClr val="bg1"/>
              </a:solidFill>
              <a:effectLst>
                <a:outerShdw blurRad="50800" dist="38100" dir="18900000" algn="bl" rotWithShape="0">
                  <a:schemeClr val="accent5">
                    <a:lumMod val="50000"/>
                    <a:alpha val="40000"/>
                  </a:schemeClr>
                </a:outerShdw>
              </a:effectLst>
              <a:latin typeface="Maiandra GD"/>
            </a:endParaRPr>
          </a:p>
          <a:p>
            <a:r>
              <a:rPr lang="en-US" b="1" kern="10" spc="720" dirty="0" smtClean="0">
                <a:ln w="2540">
                  <a:noFill/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blurRad="50800" dist="38100" dir="18900000" algn="bl" rotWithShape="0">
                    <a:schemeClr val="accent5">
                      <a:lumMod val="50000"/>
                      <a:alpha val="40000"/>
                    </a:schemeClr>
                  </a:outerShdw>
                </a:effectLst>
                <a:latin typeface="Maiandra GD"/>
              </a:rPr>
              <a:t>22 </a:t>
            </a:r>
            <a:r>
              <a:rPr lang="en-US" b="1" kern="10" spc="720" dirty="0" err="1" smtClean="0">
                <a:ln w="2540">
                  <a:noFill/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blurRad="50800" dist="38100" dir="18900000" algn="bl" rotWithShape="0">
                    <a:schemeClr val="accent5">
                      <a:lumMod val="50000"/>
                      <a:alpha val="40000"/>
                    </a:schemeClr>
                  </a:outerShdw>
                </a:effectLst>
                <a:latin typeface="Maiandra GD"/>
              </a:rPr>
              <a:t>Januari</a:t>
            </a:r>
            <a:r>
              <a:rPr lang="en-US" b="1" kern="10" spc="720" dirty="0" smtClean="0">
                <a:ln w="2540">
                  <a:noFill/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blurRad="50800" dist="38100" dir="18900000" algn="bl" rotWithShape="0">
                    <a:schemeClr val="accent5">
                      <a:lumMod val="50000"/>
                      <a:alpha val="40000"/>
                    </a:schemeClr>
                  </a:outerShdw>
                </a:effectLst>
                <a:latin typeface="Maiandra GD"/>
              </a:rPr>
              <a:t> 2012</a:t>
            </a:r>
            <a:endParaRPr lang="en-US" b="1" kern="10" spc="720" dirty="0">
              <a:ln w="2540">
                <a:noFill/>
                <a:round/>
                <a:headEnd/>
                <a:tailEnd/>
              </a:ln>
              <a:solidFill>
                <a:schemeClr val="bg1"/>
              </a:solidFill>
              <a:effectLst>
                <a:outerShdw blurRad="50800" dist="38100" dir="18900000" algn="bl" rotWithShape="0">
                  <a:schemeClr val="accent5">
                    <a:lumMod val="50000"/>
                    <a:alpha val="40000"/>
                  </a:schemeClr>
                </a:outerShdw>
              </a:effectLst>
              <a:latin typeface="Maiandra GD"/>
            </a:endParaRPr>
          </a:p>
        </p:txBody>
      </p:sp>
      <p:pic>
        <p:nvPicPr>
          <p:cNvPr id="1026" name="Picture 2" descr="D:\file-file\dok gereja\slide backround\timthumb.php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6" name="Rectangle 5"/>
          <p:cNvSpPr/>
          <p:nvPr/>
        </p:nvSpPr>
        <p:spPr>
          <a:xfrm>
            <a:off x="609600" y="4191000"/>
            <a:ext cx="7313122" cy="101566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6000" b="1" dirty="0" err="1" smtClean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rgbClr val="FF0000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  <a:latin typeface="Comic Sans MS" pitchFamily="66" charset="0"/>
              </a:rPr>
              <a:t>Doa</a:t>
            </a:r>
            <a:r>
              <a:rPr lang="en-US" sz="6000" b="1" dirty="0" smtClean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rgbClr val="FF0000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  <a:latin typeface="Comic Sans MS" pitchFamily="66" charset="0"/>
              </a:rPr>
              <a:t> </a:t>
            </a:r>
            <a:r>
              <a:rPr lang="en-US" sz="6000" b="1" dirty="0" err="1" smtClean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rgbClr val="FF0000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  <a:latin typeface="Comic Sans MS" pitchFamily="66" charset="0"/>
              </a:rPr>
              <a:t>Umum</a:t>
            </a:r>
            <a:endParaRPr lang="en-US" sz="60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rgbClr val="FF0000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  <a:latin typeface="Comic Sans MS" pitchFamily="66" charset="0"/>
            </a:endParaRPr>
          </a:p>
        </p:txBody>
      </p:sp>
      <p:sp>
        <p:nvSpPr>
          <p:cNvPr id="7" name="WordArt 6"/>
          <p:cNvSpPr>
            <a:spLocks noChangeArrowheads="1" noChangeShapeType="1" noTextEdit="1"/>
          </p:cNvSpPr>
          <p:nvPr/>
        </p:nvSpPr>
        <p:spPr bwMode="auto">
          <a:xfrm>
            <a:off x="5257800" y="304800"/>
            <a:ext cx="3657600" cy="5334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Jemaat</a:t>
            </a:r>
            <a:r>
              <a:rPr lang="en-US" sz="213200" b="1" kern="10" spc="720" dirty="0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 </a:t>
            </a:r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duduk</a:t>
            </a:r>
            <a:endParaRPr lang="en-US" sz="213200" b="1" kern="10" spc="720" dirty="0">
              <a:ln w="3175">
                <a:solidFill>
                  <a:srgbClr val="FF9900"/>
                </a:solidFill>
                <a:round/>
                <a:headEnd/>
                <a:tailEnd/>
              </a:ln>
              <a:solidFill>
                <a:srgbClr val="FF9900"/>
              </a:solidFill>
              <a:effectLst>
                <a:outerShdw dist="45791" dir="3378596" algn="ctr" rotWithShape="0">
                  <a:srgbClr val="4D4D4D">
                    <a:alpha val="79999"/>
                  </a:srgbClr>
                </a:outerShdw>
              </a:effectLst>
              <a:latin typeface="Maiandra GD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-285784" y="6019800"/>
            <a:ext cx="9715568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Ibadah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Minggu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14 April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2013</a:t>
            </a:r>
            <a:r>
              <a:rPr lang="en-US" sz="32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Jemaat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nar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Raran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 </a:t>
            </a:r>
            <a:endParaRPr lang="en-US" sz="4000" b="1" cap="none" spc="0" dirty="0">
              <a:ln w="11430"/>
              <a:solidFill>
                <a:schemeClr val="bg1"/>
              </a:soli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Vijaya" pitchFamily="34" charset="0"/>
              <a:cs typeface="Vijaya" pitchFamily="34" charset="0"/>
            </a:endParaRPr>
          </a:p>
        </p:txBody>
      </p:sp>
    </p:spTree>
  </p:cSld>
  <p:clrMapOvr>
    <a:masterClrMapping/>
  </p:clrMapOvr>
  <p:transition>
    <p:checke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repeatCount="3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" presetID="12" presetClass="entr" presetSubtype="2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9" dur="5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D:\file-file\dok gereja\slide backround\light-candle-in-darkness-300x225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>
          <a:xfrm>
            <a:off x="304800" y="381000"/>
            <a:ext cx="8534401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72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Khotbah</a:t>
            </a:r>
            <a:endParaRPr lang="en-US" sz="7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  <a:latin typeface="Comic Sans MS" pitchFamily="66" charset="0"/>
            </a:endParaRPr>
          </a:p>
        </p:txBody>
      </p:sp>
      <p:sp>
        <p:nvSpPr>
          <p:cNvPr id="5" name="WordArt 6"/>
          <p:cNvSpPr>
            <a:spLocks noChangeArrowheads="1" noChangeShapeType="1" noTextEdit="1"/>
          </p:cNvSpPr>
          <p:nvPr/>
        </p:nvSpPr>
        <p:spPr bwMode="auto">
          <a:xfrm>
            <a:off x="304800" y="2895600"/>
            <a:ext cx="6019800" cy="13716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Keluaran</a:t>
            </a:r>
            <a:r>
              <a:rPr lang="en-US" sz="213200" b="1" kern="10" spc="720" dirty="0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 15:1-21</a:t>
            </a:r>
          </a:p>
          <a:p>
            <a:pPr algn="ctr"/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Kolose</a:t>
            </a:r>
            <a:r>
              <a:rPr lang="en-US" sz="213200" b="1" kern="10" spc="720" dirty="0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 3:16-17</a:t>
            </a:r>
            <a:endParaRPr lang="en-US" sz="213200" b="1" kern="10" spc="720" dirty="0">
              <a:ln w="3175">
                <a:solidFill>
                  <a:srgbClr val="FF9900"/>
                </a:solidFill>
                <a:round/>
                <a:headEnd/>
                <a:tailEnd/>
              </a:ln>
              <a:solidFill>
                <a:schemeClr val="bg1"/>
              </a:solidFill>
              <a:effectLst>
                <a:outerShdw dist="45791" dir="3378596" algn="ctr" rotWithShape="0">
                  <a:srgbClr val="4D4D4D">
                    <a:alpha val="79999"/>
                  </a:srgbClr>
                </a:outerShdw>
              </a:effectLst>
              <a:latin typeface="Maiandra GD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7200" y="5486400"/>
            <a:ext cx="8534401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800" b="1" cap="none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Pnt.S.Porajow-Lumempow</a:t>
            </a:r>
            <a:endParaRPr lang="en-US" sz="48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  <a:latin typeface="Comic Sans MS" pitchFamily="66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28600" y="4724400"/>
            <a:ext cx="261642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5400" b="1" cap="none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Khadim</a:t>
            </a:r>
            <a:r>
              <a:rPr lang="en-US" sz="54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:</a:t>
            </a:r>
            <a:endParaRPr lang="en-US" sz="5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-914400" y="6226314"/>
            <a:ext cx="10344184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Ibadah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Minggu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14 April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2013</a:t>
            </a:r>
            <a:r>
              <a:rPr lang="en-US" sz="32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Jemaat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nar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Raran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 </a:t>
            </a:r>
            <a:endParaRPr lang="en-US" sz="4000" b="1" cap="none" spc="0" dirty="0">
              <a:ln w="11430"/>
              <a:solidFill>
                <a:schemeClr val="bg1"/>
              </a:soli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Vijaya" pitchFamily="34" charset="0"/>
              <a:cs typeface="Vijaya" pitchFamily="34" charset="0"/>
            </a:endParaRPr>
          </a:p>
        </p:txBody>
      </p:sp>
    </p:spTree>
  </p:cSld>
  <p:clrMapOvr>
    <a:masterClrMapping/>
  </p:clrMapOvr>
  <p:transition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repeatCount="3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" presetID="12" presetClass="entr" presetSubtype="2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9" dur="5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file-file\dok gereja\slide backround\images 1.jpg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49174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381000" y="0"/>
            <a:ext cx="8572560" cy="1569660"/>
          </a:xfrm>
          <a:prstGeom prst="rect">
            <a:avLst/>
          </a:prstGeom>
          <a:solidFill>
            <a:schemeClr val="accent1">
              <a:alpha val="1000"/>
            </a:schemeClr>
          </a:solidFill>
          <a:ln>
            <a:solidFill>
              <a:schemeClr val="accent1">
                <a:alpha val="25000"/>
              </a:schemeClr>
            </a:solidFill>
          </a:ln>
          <a:effectLst>
            <a:outerShdw blurRad="50800" dist="50800" dir="5400000" algn="ctr" rotWithShape="0">
              <a:srgbClr val="000000">
                <a:alpha val="70000"/>
              </a:srgbClr>
            </a:outerShdw>
          </a:effectLst>
          <a:scene3d>
            <a:camera prst="orthographicFront"/>
            <a:lightRig rig="threePt" dir="t"/>
          </a:scene3d>
          <a:sp3d extrusionH="76200">
            <a:extrusionClr>
              <a:srgbClr val="FF0000"/>
            </a:extrusionClr>
          </a:sp3d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n-US" sz="4800" b="1" dirty="0">
                <a:ln w="15875" cap="rnd" cmpd="sng">
                  <a:solidFill>
                    <a:schemeClr val="bg1"/>
                  </a:solidFill>
                </a:ln>
                <a:solidFill>
                  <a:srgbClr val="FF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VAGRounded BT" pitchFamily="34" charset="0"/>
              </a:rPr>
              <a:t>TATA IBADAH                                </a:t>
            </a:r>
            <a:r>
              <a:rPr lang="en-US" sz="4800" b="1" dirty="0" smtClean="0">
                <a:ln w="15875" cap="rnd" cmpd="sng">
                  <a:solidFill>
                    <a:schemeClr val="bg1"/>
                  </a:solidFill>
                </a:ln>
                <a:solidFill>
                  <a:srgbClr val="FF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VAGRounded BT" pitchFamily="34" charset="0"/>
              </a:rPr>
              <a:t>HARI MINGGU BENTUK II</a:t>
            </a:r>
            <a:endParaRPr lang="en-US" sz="4800" b="1" dirty="0">
              <a:ln w="15875" cap="rnd" cmpd="sng">
                <a:solidFill>
                  <a:schemeClr val="bg1"/>
                </a:solidFill>
              </a:ln>
              <a:solidFill>
                <a:srgbClr val="FF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VAGRounded BT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85750" y="1928813"/>
            <a:ext cx="8501063" cy="2246769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defRPr/>
            </a:pPr>
            <a:r>
              <a:rPr lang="en-US" sz="3600" b="1" dirty="0">
                <a:solidFill>
                  <a:srgbClr val="00B0F0"/>
                </a:solidFill>
                <a:latin typeface="Maiandra GD" pitchFamily="34" charset="0"/>
              </a:rPr>
              <a:t>GMIM “SINAR SION” RARANON</a:t>
            </a:r>
            <a:endParaRPr lang="en-US" b="1" dirty="0">
              <a:solidFill>
                <a:srgbClr val="00B0F0"/>
              </a:solidFill>
              <a:latin typeface="Maiandra GD" pitchFamily="34" charset="0"/>
            </a:endParaRPr>
          </a:p>
          <a:p>
            <a:pPr algn="r">
              <a:defRPr/>
            </a:pPr>
            <a:endParaRPr lang="en-US" sz="3200" b="1" dirty="0" smtClean="0">
              <a:solidFill>
                <a:srgbClr val="00B0F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aiandra GD" pitchFamily="34" charset="0"/>
            </a:endParaRPr>
          </a:p>
          <a:p>
            <a:pPr algn="r">
              <a:defRPr/>
            </a:pPr>
            <a:r>
              <a:rPr lang="en-US" sz="3200" b="1" dirty="0" err="1" smtClean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emimpin</a:t>
            </a:r>
            <a:r>
              <a:rPr lang="en-US" sz="3200" b="1" dirty="0" smtClean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200" b="1" dirty="0" err="1" smtClean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Ibadah</a:t>
            </a:r>
            <a:endParaRPr lang="en-US" sz="3200" b="1" dirty="0" smtClean="0">
              <a:solidFill>
                <a:srgbClr val="00B0F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aiandra GD" pitchFamily="34" charset="0"/>
            </a:endParaRPr>
          </a:p>
          <a:p>
            <a:pPr algn="r">
              <a:defRPr/>
            </a:pPr>
            <a:r>
              <a:rPr lang="en-US" sz="4000" b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nt.S.Porayow-Lumempow</a:t>
            </a:r>
            <a:r>
              <a:rPr lang="en-US" sz="32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  </a:t>
            </a:r>
            <a:r>
              <a:rPr lang="en-US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                                        </a:t>
            </a:r>
            <a:endParaRPr lang="en-US" sz="4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aiandra GD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00063" y="5214938"/>
            <a:ext cx="8215312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>
              <a:defRPr/>
            </a:pPr>
            <a:r>
              <a:rPr lang="en-US" sz="36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inggu,14 April </a:t>
            </a:r>
            <a:r>
              <a:rPr lang="en-US" sz="36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2013</a:t>
            </a:r>
            <a:endParaRPr lang="en-US" sz="36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aiandra GD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-285784" y="6019800"/>
            <a:ext cx="9715568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en-US" sz="4000" b="1" cap="none" spc="0" dirty="0" err="1" smtClean="0">
                <a:ln w="11430"/>
                <a:solidFill>
                  <a:srgbClr val="FF00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Ibadah</a:t>
            </a:r>
            <a:r>
              <a:rPr lang="en-US" sz="4000" b="1" cap="none" spc="0" dirty="0" smtClean="0">
                <a:ln w="11430"/>
                <a:solidFill>
                  <a:srgbClr val="FF00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rgbClr val="FF00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Minggu</a:t>
            </a:r>
            <a:r>
              <a:rPr lang="en-US" sz="4000" b="1" cap="none" spc="0" dirty="0" smtClean="0">
                <a:ln w="11430"/>
                <a:solidFill>
                  <a:srgbClr val="FF00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3200" b="1" dirty="0" smtClean="0">
                <a:ln w="11430"/>
                <a:solidFill>
                  <a:srgbClr val="FF00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14 April </a:t>
            </a:r>
            <a:r>
              <a:rPr lang="en-US" sz="3200" b="1" dirty="0" smtClean="0">
                <a:ln w="11430"/>
                <a:solidFill>
                  <a:srgbClr val="FF00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2013</a:t>
            </a:r>
            <a:r>
              <a:rPr lang="en-US" sz="3200" b="1" cap="none" spc="0" dirty="0" smtClean="0">
                <a:ln w="11430"/>
                <a:solidFill>
                  <a:srgbClr val="FF00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rgbClr val="FF00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Jemaat</a:t>
            </a:r>
            <a:r>
              <a:rPr lang="en-US" sz="4000" b="1" cap="none" spc="0" dirty="0" smtClean="0">
                <a:ln w="11430"/>
                <a:solidFill>
                  <a:srgbClr val="FF00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rgbClr val="FF00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nar</a:t>
            </a:r>
            <a:r>
              <a:rPr lang="en-US" sz="4000" b="1" cap="none" spc="0" dirty="0" smtClean="0">
                <a:ln w="11430"/>
                <a:solidFill>
                  <a:srgbClr val="FF00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rgbClr val="FF00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on</a:t>
            </a:r>
            <a:r>
              <a:rPr lang="en-US" sz="4000" b="1" cap="none" spc="0" dirty="0" smtClean="0">
                <a:ln w="11430"/>
                <a:solidFill>
                  <a:srgbClr val="FF00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rgbClr val="FF00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Raranon</a:t>
            </a:r>
            <a:r>
              <a:rPr lang="en-US" sz="4000" b="1" cap="none" spc="0" dirty="0" smtClean="0">
                <a:ln w="11430"/>
                <a:solidFill>
                  <a:srgbClr val="FF00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 </a:t>
            </a:r>
            <a:endParaRPr lang="en-US" sz="4000" b="1" cap="none" spc="0" dirty="0">
              <a:ln w="11430"/>
              <a:solidFill>
                <a:srgbClr val="FF0000"/>
              </a:soli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Vijaya" pitchFamily="34" charset="0"/>
              <a:cs typeface="Vijaya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7" dur="5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:\file-file\dok gereja\slide backround\gitar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1113" y="0"/>
            <a:ext cx="91551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0" y="0"/>
            <a:ext cx="9144000" cy="769441"/>
          </a:xfrm>
          <a:prstGeom prst="rect">
            <a:avLst/>
          </a:prstGeom>
          <a:solidFill>
            <a:srgbClr val="00B050">
              <a:alpha val="52000"/>
            </a:srgbClr>
          </a:soli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26C96">
                <a:alpha val="50000"/>
              </a:srgbClr>
            </a:prstShdw>
          </a:effectLst>
        </p:spPr>
        <p:txBody>
          <a:bodyPr wrap="square">
            <a:spAutoFit/>
          </a:bodyPr>
          <a:lstStyle/>
          <a:p>
            <a:pPr marL="914400" lvl="0" indent="-9144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Yesus</a:t>
            </a:r>
            <a:r>
              <a:rPr lang="en-US" sz="4400" b="1" kern="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 </a:t>
            </a: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Aku</a:t>
            </a:r>
            <a:r>
              <a:rPr lang="en-US" sz="4400" b="1" kern="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 </a:t>
            </a: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Cinta</a:t>
            </a:r>
            <a:r>
              <a:rPr lang="en-US" sz="4400" b="1" kern="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 </a:t>
            </a: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Padamu</a:t>
            </a:r>
            <a:endParaRPr lang="en-US" sz="3600" b="1" kern="0" dirty="0">
              <a:solidFill>
                <a:srgbClr val="FFFF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85800" y="990600"/>
            <a:ext cx="8458200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YESUS AKU CINTA PADAMU</a:t>
            </a:r>
          </a:p>
          <a:p>
            <a:r>
              <a:rPr lang="en-US" sz="2800" b="1" dirty="0" smtClean="0">
                <a:solidFill>
                  <a:schemeClr val="bg1"/>
                </a:solidFill>
              </a:rPr>
              <a:t>HIDUPKU HANYA DALAM TANGANMU</a:t>
            </a:r>
          </a:p>
          <a:p>
            <a:r>
              <a:rPr lang="en-US" sz="2800" b="1" dirty="0" smtClean="0">
                <a:solidFill>
                  <a:schemeClr val="bg1"/>
                </a:solidFill>
              </a:rPr>
              <a:t>KU SLALU BERDOA ,KU SLALU MEMINTA</a:t>
            </a:r>
          </a:p>
          <a:p>
            <a:r>
              <a:rPr lang="en-US" sz="2800" b="1" dirty="0" smtClean="0">
                <a:solidFill>
                  <a:schemeClr val="bg1"/>
                </a:solidFill>
              </a:rPr>
              <a:t>ENGKAU MENJAWAB DOAKU</a:t>
            </a:r>
          </a:p>
          <a:p>
            <a:r>
              <a:rPr lang="en-US" sz="2800" b="1" dirty="0" smtClean="0">
                <a:solidFill>
                  <a:schemeClr val="bg1"/>
                </a:solidFill>
              </a:rPr>
              <a:t>	YESUS KUAGUNGKAN  NAMAMU</a:t>
            </a:r>
          </a:p>
          <a:p>
            <a:r>
              <a:rPr lang="en-US" sz="2800" b="1" dirty="0" smtClean="0">
                <a:solidFill>
                  <a:schemeClr val="bg1"/>
                </a:solidFill>
              </a:rPr>
              <a:t>	KU PUJI KUSEMBAH KAU SELALU</a:t>
            </a:r>
          </a:p>
          <a:p>
            <a:r>
              <a:rPr lang="en-US" sz="2800" b="1" dirty="0" smtClean="0">
                <a:solidFill>
                  <a:schemeClr val="bg1"/>
                </a:solidFill>
              </a:rPr>
              <a:t>	DALAM KESUSAHAN DALAM KELIMPAHAN</a:t>
            </a:r>
          </a:p>
          <a:p>
            <a:r>
              <a:rPr lang="en-US" sz="2800" b="1" dirty="0" smtClean="0">
                <a:solidFill>
                  <a:schemeClr val="bg1"/>
                </a:solidFill>
              </a:rPr>
              <a:t>	YESUS SEGALANYA BAGIKU</a:t>
            </a:r>
          </a:p>
          <a:p>
            <a:r>
              <a:rPr lang="en-US" sz="2800" b="1" dirty="0" smtClean="0">
                <a:solidFill>
                  <a:schemeClr val="bg1"/>
                </a:solidFill>
              </a:rPr>
              <a:t>BADAI DAN GELOMBANG MENERPA KAPALKU</a:t>
            </a:r>
          </a:p>
          <a:p>
            <a:r>
              <a:rPr lang="en-US" sz="2800" b="1" dirty="0" smtClean="0">
                <a:solidFill>
                  <a:schemeClr val="bg1"/>
                </a:solidFill>
              </a:rPr>
              <a:t>YESUS ENGKAU JURUMUDIKU</a:t>
            </a:r>
          </a:p>
          <a:p>
            <a:r>
              <a:rPr lang="en-US" sz="2800" b="1" dirty="0" smtClean="0">
                <a:solidFill>
                  <a:schemeClr val="bg1"/>
                </a:solidFill>
              </a:rPr>
              <a:t>KU TAKKAN TENGGELAM KU TAK AKAN GOYAH</a:t>
            </a:r>
          </a:p>
          <a:p>
            <a:r>
              <a:rPr lang="en-US" sz="2800" b="1" dirty="0" smtClean="0">
                <a:solidFill>
                  <a:schemeClr val="bg1"/>
                </a:solidFill>
              </a:rPr>
              <a:t>YESUS PENOPANG HIDUPKU</a:t>
            </a:r>
            <a:endParaRPr lang="en-US" sz="2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>
    <p:comb dir="vert"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D:\file-file\dok gereja\slide backround\light-candle-in-darkness-300x225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>
          <a:xfrm>
            <a:off x="304800" y="381000"/>
            <a:ext cx="8534401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72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Persembahan</a:t>
            </a:r>
            <a:endParaRPr lang="en-US" sz="72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  <a:latin typeface="Comic Sans MS" pitchFamily="66" charset="0"/>
            </a:endParaRPr>
          </a:p>
        </p:txBody>
      </p:sp>
      <p:sp>
        <p:nvSpPr>
          <p:cNvPr id="5" name="WordArt 6"/>
          <p:cNvSpPr>
            <a:spLocks noChangeArrowheads="1" noChangeShapeType="1" noTextEdit="1"/>
          </p:cNvSpPr>
          <p:nvPr/>
        </p:nvSpPr>
        <p:spPr bwMode="auto">
          <a:xfrm>
            <a:off x="304800" y="2895600"/>
            <a:ext cx="5638800" cy="16002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Rindukah</a:t>
            </a:r>
            <a:r>
              <a:rPr lang="en-US" sz="213200" b="1" kern="10" spc="720" dirty="0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 </a:t>
            </a:r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Engkau</a:t>
            </a:r>
            <a:r>
              <a:rPr lang="en-US" sz="213200" b="1" kern="10" spc="720" dirty="0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 </a:t>
            </a:r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Mendapat</a:t>
            </a:r>
            <a:r>
              <a:rPr lang="en-US" sz="213200" b="1" kern="10" spc="720" dirty="0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 </a:t>
            </a:r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Berkat</a:t>
            </a:r>
            <a:r>
              <a:rPr lang="en-US" sz="213200" b="1" kern="10" spc="720" dirty="0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 </a:t>
            </a:r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Tuhan</a:t>
            </a:r>
            <a:r>
              <a:rPr lang="en-US" sz="213200" b="1" kern="10" spc="720" dirty="0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 </a:t>
            </a:r>
          </a:p>
          <a:p>
            <a:pPr algn="ctr"/>
            <a:r>
              <a:rPr lang="en-US" sz="213200" b="1" kern="10" spc="720" dirty="0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NKB 100</a:t>
            </a:r>
            <a:endParaRPr lang="en-US" sz="213200" b="1" kern="10" spc="720" dirty="0">
              <a:ln w="3175">
                <a:solidFill>
                  <a:srgbClr val="FF9900"/>
                </a:solidFill>
                <a:round/>
                <a:headEnd/>
                <a:tailEnd/>
              </a:ln>
              <a:solidFill>
                <a:schemeClr val="bg1"/>
              </a:solidFill>
              <a:effectLst>
                <a:outerShdw dist="45791" dir="3378596" algn="ctr" rotWithShape="0">
                  <a:srgbClr val="4D4D4D">
                    <a:alpha val="79999"/>
                  </a:srgbClr>
                </a:outerShdw>
              </a:effectLst>
              <a:latin typeface="Maiandra GD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28600" y="2124670"/>
            <a:ext cx="326384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5400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Menyanyi</a:t>
            </a:r>
            <a:r>
              <a:rPr lang="en-US" sz="54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:</a:t>
            </a:r>
            <a:endParaRPr lang="en-US" sz="5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-914400" y="6226314"/>
            <a:ext cx="10344184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Ibadah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Minggu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14 April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2013</a:t>
            </a:r>
            <a:r>
              <a:rPr lang="en-US" sz="32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Jemaat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nar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Raran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 </a:t>
            </a:r>
            <a:endParaRPr lang="en-US" sz="4000" b="1" cap="none" spc="0" dirty="0">
              <a:ln w="11430"/>
              <a:solidFill>
                <a:schemeClr val="bg1"/>
              </a:soli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Vijaya" pitchFamily="34" charset="0"/>
              <a:cs typeface="Vijaya" pitchFamily="34" charset="0"/>
            </a:endParaRPr>
          </a:p>
        </p:txBody>
      </p:sp>
    </p:spTree>
  </p:cSld>
  <p:clrMapOvr>
    <a:masterClrMapping/>
  </p:clrMapOvr>
  <p:transition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repeatCount="3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" presetID="12" presetClass="entr" presetSubtype="2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9" dur="5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:\file-file\dok gereja\slide backround\gitar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1113" y="0"/>
            <a:ext cx="91551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0" y="0"/>
            <a:ext cx="9144000" cy="769441"/>
          </a:xfrm>
          <a:prstGeom prst="rect">
            <a:avLst/>
          </a:prstGeom>
          <a:solidFill>
            <a:srgbClr val="00B050">
              <a:alpha val="52000"/>
            </a:srgbClr>
          </a:soli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26C96">
                <a:alpha val="50000"/>
              </a:srgbClr>
            </a:prstShdw>
          </a:effectLst>
        </p:spPr>
        <p:txBody>
          <a:bodyPr wrap="square">
            <a:spAutoFit/>
          </a:bodyPr>
          <a:lstStyle/>
          <a:p>
            <a:pPr marL="914400" lvl="0" indent="-9144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Rindukah</a:t>
            </a:r>
            <a:endParaRPr lang="en-US" sz="3600" b="1" kern="0" dirty="0">
              <a:solidFill>
                <a:srgbClr val="FFFF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990600" y="1828800"/>
            <a:ext cx="7924800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Rindukah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engkau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endapat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berkat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uhan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yang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enuh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i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seluruh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hidupmu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?</a:t>
            </a:r>
            <a:b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intalah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epada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Bapamu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</a:p>
          <a:p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yang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janjiNya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eguh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:</a:t>
            </a:r>
            <a:b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enyertai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langkahmu</a:t>
            </a:r>
            <a:r>
              <a:rPr lang="en-US" sz="2800" dirty="0" smtClean="0">
                <a:solidFill>
                  <a:schemeClr val="bg1"/>
                </a:solidFill>
              </a:rPr>
              <a:t>.</a:t>
            </a:r>
          </a:p>
        </p:txBody>
      </p:sp>
    </p:spTree>
  </p:cSld>
  <p:clrMapOvr>
    <a:masterClrMapping/>
  </p:clrMapOvr>
  <p:transition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 tmFilter="0,0; .5, 1; 1, 1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:\file-file\dok gereja\slide backround\gitar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1113" y="0"/>
            <a:ext cx="91551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0" y="0"/>
            <a:ext cx="9144000" cy="769441"/>
          </a:xfrm>
          <a:prstGeom prst="rect">
            <a:avLst/>
          </a:prstGeom>
          <a:solidFill>
            <a:srgbClr val="00B050">
              <a:alpha val="52000"/>
            </a:srgbClr>
          </a:soli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26C96">
                <a:alpha val="50000"/>
              </a:srgbClr>
            </a:prstShdw>
          </a:effectLst>
        </p:spPr>
        <p:txBody>
          <a:bodyPr wrap="square">
            <a:spAutoFit/>
          </a:bodyPr>
          <a:lstStyle/>
          <a:p>
            <a:pPr marL="914400" lvl="0" indent="-9144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Rindukah</a:t>
            </a:r>
            <a:endParaRPr lang="en-US" sz="3600" b="1" kern="0" dirty="0">
              <a:solidFill>
                <a:srgbClr val="FFFF0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28800" y="762000"/>
            <a:ext cx="7086600" cy="53860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Refrein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/>
            </a:r>
            <a:b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Roh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Kudus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erus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                    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eluap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i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hatimu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,</a:t>
            </a:r>
            <a:b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ar’na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uhan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berpesan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: “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Bawalah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bejanamu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”.</a:t>
            </a:r>
            <a:b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Roh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Kudus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erus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                     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eluap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i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hatimu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,</a:t>
            </a:r>
            <a:b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un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engan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uasaNya</a:t>
            </a:r>
            <a:endParaRPr lang="en-US" sz="4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aiandra GD" pitchFamily="34" charset="0"/>
            </a:endParaRPr>
          </a:p>
        </p:txBody>
      </p:sp>
    </p:spTree>
  </p:cSld>
  <p:clrMapOvr>
    <a:masterClrMapping/>
  </p:clrMapOvr>
  <p:transition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:\file-file\dok gereja\slide backround\gitar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1113" y="0"/>
            <a:ext cx="91551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0" y="0"/>
            <a:ext cx="9144000" cy="769441"/>
          </a:xfrm>
          <a:prstGeom prst="rect">
            <a:avLst/>
          </a:prstGeom>
          <a:solidFill>
            <a:srgbClr val="00B050">
              <a:alpha val="52000"/>
            </a:srgbClr>
          </a:soli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26C96">
                <a:alpha val="50000"/>
              </a:srgbClr>
            </a:prstShdw>
          </a:effectLst>
        </p:spPr>
        <p:txBody>
          <a:bodyPr wrap="square">
            <a:spAutoFit/>
          </a:bodyPr>
          <a:lstStyle/>
          <a:p>
            <a:pPr marL="914400" lvl="0" indent="-9144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Rindukah</a:t>
            </a:r>
            <a:endParaRPr lang="en-US" sz="3600" b="1" kern="0" dirty="0">
              <a:solidFill>
                <a:srgbClr val="FFFF0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28800" y="1752600"/>
            <a:ext cx="708660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Bawalah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bejanamu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yang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osong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ada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enebus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,</a:t>
            </a:r>
            <a:b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wahai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awan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yang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lesu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.</a:t>
            </a:r>
            <a:b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engan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hati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yang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rendah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etap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nantikan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Roh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Kudus,</a:t>
            </a:r>
            <a:b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asuk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alam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hatimu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.</a:t>
            </a:r>
            <a:endParaRPr lang="en-US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aiandra GD" pitchFamily="34" charset="0"/>
            </a:endParaRPr>
          </a:p>
        </p:txBody>
      </p:sp>
    </p:spTree>
  </p:cSld>
  <p:clrMapOvr>
    <a:masterClrMapping/>
  </p:clrMapOvr>
  <p:transition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:\file-file\dok gereja\slide backround\gitar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1113" y="0"/>
            <a:ext cx="91551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0" y="0"/>
            <a:ext cx="9144000" cy="769441"/>
          </a:xfrm>
          <a:prstGeom prst="rect">
            <a:avLst/>
          </a:prstGeom>
          <a:solidFill>
            <a:srgbClr val="00B050">
              <a:alpha val="52000"/>
            </a:srgbClr>
          </a:soli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26C96">
                <a:alpha val="50000"/>
              </a:srgbClr>
            </a:prstShdw>
          </a:effectLst>
        </p:spPr>
        <p:txBody>
          <a:bodyPr wrap="square">
            <a:spAutoFit/>
          </a:bodyPr>
          <a:lstStyle/>
          <a:p>
            <a:pPr marL="914400" lvl="0" indent="-9144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Rindukah</a:t>
            </a:r>
            <a:endParaRPr lang="en-US" sz="3600" b="1" kern="0" dirty="0">
              <a:solidFill>
                <a:srgbClr val="FFFF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143000" y="1752600"/>
            <a:ext cx="647700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O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anugerah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ilahi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pun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engalirlah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erus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,</a:t>
            </a:r>
            <a:b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ak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berubah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asihNya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.</a:t>
            </a:r>
            <a:b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Bejanamu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‘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an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erisi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                    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oleh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uasa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Roh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Kudus;</a:t>
            </a:r>
            <a:b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ya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an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amin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janjiNya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.</a:t>
            </a:r>
            <a:endParaRPr lang="en-US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aiandra GD" pitchFamily="34" charset="0"/>
            </a:endParaRPr>
          </a:p>
        </p:txBody>
      </p:sp>
    </p:spTree>
  </p:cSld>
  <p:clrMapOvr>
    <a:masterClrMapping/>
  </p:clrMapOvr>
  <p:transition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:\file-file\dok gereja\slide backround\gitar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1113" y="0"/>
            <a:ext cx="91551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0" y="0"/>
            <a:ext cx="9144000" cy="769441"/>
          </a:xfrm>
          <a:prstGeom prst="rect">
            <a:avLst/>
          </a:prstGeom>
          <a:solidFill>
            <a:srgbClr val="00B050">
              <a:alpha val="52000"/>
            </a:srgbClr>
          </a:soli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26C96">
                <a:alpha val="50000"/>
              </a:srgbClr>
            </a:prstShdw>
          </a:effectLst>
        </p:spPr>
        <p:txBody>
          <a:bodyPr wrap="square">
            <a:spAutoFit/>
          </a:bodyPr>
          <a:lstStyle/>
          <a:p>
            <a:pPr marL="914400" lvl="0" indent="-9144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Rindukah</a:t>
            </a:r>
            <a:endParaRPr lang="en-US" sz="3600" b="1" kern="0" dirty="0">
              <a:solidFill>
                <a:srgbClr val="FFFF0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28800" y="762000"/>
            <a:ext cx="7086600" cy="53860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Refrein</a:t>
            </a:r>
            <a: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/>
            </a:r>
            <a:br>
              <a:rPr 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Roh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Kudus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erus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                    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eluap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i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hatimu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,</a:t>
            </a:r>
            <a:b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ar’na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uhan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berpesan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: “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Bawalah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bejanamu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”.</a:t>
            </a:r>
            <a:b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Roh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Kudus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erus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                     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eluap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i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hatimu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,</a:t>
            </a:r>
            <a:b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un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engan</a:t>
            </a:r>
            <a:r>
              <a:rPr lang="en-US" sz="4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uasaNya</a:t>
            </a:r>
            <a:endParaRPr lang="en-US" sz="4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aiandra GD" pitchFamily="34" charset="0"/>
            </a:endParaRPr>
          </a:p>
        </p:txBody>
      </p:sp>
    </p:spTree>
  </p:cSld>
  <p:clrMapOvr>
    <a:masterClrMapping/>
  </p:clrMapOvr>
  <p:transition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4"/>
          <p:cNvSpPr txBox="1">
            <a:spLocks/>
          </p:cNvSpPr>
          <p:nvPr/>
        </p:nvSpPr>
        <p:spPr>
          <a:xfrm>
            <a:off x="533400" y="838200"/>
            <a:ext cx="8305800" cy="4495800"/>
          </a:xfrm>
          <a:prstGeom prst="rect">
            <a:avLst/>
          </a:prstGeom>
        </p:spPr>
        <p:txBody>
          <a:bodyPr/>
          <a:lstStyle/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Maiandra GD" pitchFamily="34" charset="0"/>
              </a:rPr>
              <a:t>	</a:t>
            </a: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Maiandra GD" pitchFamily="34" charset="0"/>
              </a:rPr>
              <a:t>	</a:t>
            </a:r>
            <a:r>
              <a:rPr lang="en-US" sz="40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Maiandra GD" pitchFamily="34" charset="0"/>
              </a:rPr>
              <a:t> </a:t>
            </a:r>
            <a:r>
              <a:rPr lang="en-US" sz="4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Maiandra GD" pitchFamily="34" charset="0"/>
              </a:rPr>
              <a:t/>
            </a:r>
            <a:br>
              <a:rPr lang="en-US" sz="4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Maiandra GD" pitchFamily="34" charset="0"/>
              </a:rPr>
            </a:br>
            <a:r>
              <a:rPr lang="en-US" sz="4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Maiandra GD" pitchFamily="34" charset="0"/>
              </a:rPr>
              <a:t/>
            </a:r>
            <a:br>
              <a:rPr lang="en-US" sz="4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Maiandra GD" pitchFamily="34" charset="0"/>
              </a:rPr>
            </a:br>
            <a:endParaRPr kumimoji="0" lang="en-US" sz="4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aiandra GD" pitchFamily="34" charset="0"/>
            </a:endParaRPr>
          </a:p>
        </p:txBody>
      </p:sp>
      <p:sp>
        <p:nvSpPr>
          <p:cNvPr id="4" name="WordArt 6"/>
          <p:cNvSpPr>
            <a:spLocks noChangeArrowheads="1" noChangeShapeType="1" noTextEdit="1"/>
          </p:cNvSpPr>
          <p:nvPr>
            <p:custDataLst>
              <p:tags r:id="rId1"/>
            </p:custDataLst>
          </p:nvPr>
        </p:nvSpPr>
        <p:spPr bwMode="auto">
          <a:xfrm>
            <a:off x="5562600" y="5867400"/>
            <a:ext cx="3200400" cy="5842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b="1" kern="10" spc="720" dirty="0" err="1">
                <a:ln w="2540">
                  <a:noFill/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blurRad="50800" dist="38100" dir="18900000" algn="bl" rotWithShape="0">
                    <a:schemeClr val="accent5">
                      <a:lumMod val="50000"/>
                      <a:alpha val="40000"/>
                    </a:schemeClr>
                  </a:outerShdw>
                </a:effectLst>
                <a:latin typeface="Maiandra GD"/>
              </a:rPr>
              <a:t>Ibadah</a:t>
            </a:r>
            <a:r>
              <a:rPr lang="en-US" b="1" kern="10" spc="720" dirty="0">
                <a:ln w="2540">
                  <a:noFill/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blurRad="50800" dist="38100" dir="18900000" algn="bl" rotWithShape="0">
                    <a:schemeClr val="accent5">
                      <a:lumMod val="50000"/>
                      <a:alpha val="40000"/>
                    </a:schemeClr>
                  </a:outerShdw>
                </a:effectLst>
                <a:latin typeface="Maiandra GD"/>
              </a:rPr>
              <a:t> </a:t>
            </a:r>
            <a:r>
              <a:rPr lang="en-US" b="1" kern="10" spc="720" dirty="0" err="1">
                <a:ln w="2540">
                  <a:noFill/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blurRad="50800" dist="38100" dir="18900000" algn="bl" rotWithShape="0">
                    <a:schemeClr val="accent5">
                      <a:lumMod val="50000"/>
                      <a:alpha val="40000"/>
                    </a:schemeClr>
                  </a:outerShdw>
                </a:effectLst>
                <a:latin typeface="Maiandra GD"/>
              </a:rPr>
              <a:t>Minggu</a:t>
            </a:r>
            <a:r>
              <a:rPr lang="en-US" b="1" kern="10" spc="720" dirty="0">
                <a:ln w="2540">
                  <a:noFill/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blurRad="50800" dist="38100" dir="18900000" algn="bl" rotWithShape="0">
                    <a:schemeClr val="accent5">
                      <a:lumMod val="50000"/>
                      <a:alpha val="40000"/>
                    </a:schemeClr>
                  </a:outerShdw>
                </a:effectLst>
                <a:latin typeface="Maiandra GD"/>
              </a:rPr>
              <a:t> </a:t>
            </a:r>
            <a:endParaRPr lang="en-US" b="1" kern="10" spc="720" dirty="0" smtClean="0">
              <a:ln w="2540">
                <a:noFill/>
                <a:round/>
                <a:headEnd/>
                <a:tailEnd/>
              </a:ln>
              <a:solidFill>
                <a:schemeClr val="bg1"/>
              </a:solidFill>
              <a:effectLst>
                <a:outerShdw blurRad="50800" dist="38100" dir="18900000" algn="bl" rotWithShape="0">
                  <a:schemeClr val="accent5">
                    <a:lumMod val="50000"/>
                    <a:alpha val="40000"/>
                  </a:schemeClr>
                </a:outerShdw>
              </a:effectLst>
              <a:latin typeface="Maiandra GD"/>
            </a:endParaRPr>
          </a:p>
          <a:p>
            <a:r>
              <a:rPr lang="en-US" b="1" kern="10" spc="720" dirty="0" smtClean="0">
                <a:ln w="2540">
                  <a:noFill/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blurRad="50800" dist="38100" dir="18900000" algn="bl" rotWithShape="0">
                    <a:schemeClr val="accent5">
                      <a:lumMod val="50000"/>
                      <a:alpha val="40000"/>
                    </a:schemeClr>
                  </a:outerShdw>
                </a:effectLst>
                <a:latin typeface="Maiandra GD"/>
              </a:rPr>
              <a:t>22 </a:t>
            </a:r>
            <a:r>
              <a:rPr lang="en-US" b="1" kern="10" spc="720" dirty="0" err="1" smtClean="0">
                <a:ln w="2540">
                  <a:noFill/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blurRad="50800" dist="38100" dir="18900000" algn="bl" rotWithShape="0">
                    <a:schemeClr val="accent5">
                      <a:lumMod val="50000"/>
                      <a:alpha val="40000"/>
                    </a:schemeClr>
                  </a:outerShdw>
                </a:effectLst>
                <a:latin typeface="Maiandra GD"/>
              </a:rPr>
              <a:t>Januari</a:t>
            </a:r>
            <a:r>
              <a:rPr lang="en-US" b="1" kern="10" spc="720" dirty="0" smtClean="0">
                <a:ln w="2540">
                  <a:noFill/>
                  <a:round/>
                  <a:headEnd/>
                  <a:tailEnd/>
                </a:ln>
                <a:solidFill>
                  <a:schemeClr val="bg1"/>
                </a:solidFill>
                <a:effectLst>
                  <a:outerShdw blurRad="50800" dist="38100" dir="18900000" algn="bl" rotWithShape="0">
                    <a:schemeClr val="accent5">
                      <a:lumMod val="50000"/>
                      <a:alpha val="40000"/>
                    </a:schemeClr>
                  </a:outerShdw>
                </a:effectLst>
                <a:latin typeface="Maiandra GD"/>
              </a:rPr>
              <a:t> 2012</a:t>
            </a:r>
            <a:endParaRPr lang="en-US" b="1" kern="10" spc="720" dirty="0">
              <a:ln w="2540">
                <a:noFill/>
                <a:round/>
                <a:headEnd/>
                <a:tailEnd/>
              </a:ln>
              <a:solidFill>
                <a:schemeClr val="bg1"/>
              </a:solidFill>
              <a:effectLst>
                <a:outerShdw blurRad="50800" dist="38100" dir="18900000" algn="bl" rotWithShape="0">
                  <a:schemeClr val="accent5">
                    <a:lumMod val="50000"/>
                    <a:alpha val="40000"/>
                  </a:schemeClr>
                </a:outerShdw>
              </a:effectLst>
              <a:latin typeface="Maiandra GD"/>
            </a:endParaRPr>
          </a:p>
        </p:txBody>
      </p:sp>
      <p:pic>
        <p:nvPicPr>
          <p:cNvPr id="1026" name="Picture 2" descr="D:\file-file\dok gereja\slide backround\timthumb.php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6" name="Rectangle 5"/>
          <p:cNvSpPr/>
          <p:nvPr/>
        </p:nvSpPr>
        <p:spPr>
          <a:xfrm>
            <a:off x="609600" y="4114800"/>
            <a:ext cx="7313122" cy="101566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6000" b="1" dirty="0" err="1" smtClean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rgbClr val="FF0000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  <a:latin typeface="Comic Sans MS" pitchFamily="66" charset="0"/>
              </a:rPr>
              <a:t>Doa</a:t>
            </a:r>
            <a:r>
              <a:rPr lang="en-US" sz="6000" b="1" dirty="0" smtClean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rgbClr val="FF0000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  <a:latin typeface="Comic Sans MS" pitchFamily="66" charset="0"/>
              </a:rPr>
              <a:t> </a:t>
            </a:r>
            <a:r>
              <a:rPr lang="en-US" sz="6000" b="1" dirty="0" err="1" smtClean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rgbClr val="FF0000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  <a:latin typeface="Comic Sans MS" pitchFamily="66" charset="0"/>
              </a:rPr>
              <a:t>Persembahan</a:t>
            </a:r>
            <a:endParaRPr lang="en-US" sz="6000" b="1" cap="none" spc="0" dirty="0">
              <a:ln w="19050">
                <a:solidFill>
                  <a:schemeClr val="tx2">
                    <a:tint val="1000"/>
                  </a:schemeClr>
                </a:solidFill>
                <a:prstDash val="solid"/>
              </a:ln>
              <a:solidFill>
                <a:srgbClr val="FF0000"/>
              </a:solidFill>
              <a:effectLst>
                <a:outerShdw blurRad="50000" dist="50800" dir="7500000" algn="tl">
                  <a:srgbClr val="000000">
                    <a:shade val="5000"/>
                    <a:alpha val="35000"/>
                  </a:srgbClr>
                </a:outerShdw>
              </a:effectLst>
              <a:latin typeface="Comic Sans MS" pitchFamily="66" charset="0"/>
            </a:endParaRPr>
          </a:p>
        </p:txBody>
      </p:sp>
      <p:sp>
        <p:nvSpPr>
          <p:cNvPr id="7" name="WordArt 6"/>
          <p:cNvSpPr>
            <a:spLocks noChangeArrowheads="1" noChangeShapeType="1" noTextEdit="1"/>
          </p:cNvSpPr>
          <p:nvPr/>
        </p:nvSpPr>
        <p:spPr bwMode="auto">
          <a:xfrm>
            <a:off x="5257800" y="304800"/>
            <a:ext cx="3657600" cy="5334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Jemaat</a:t>
            </a:r>
            <a:r>
              <a:rPr lang="en-US" sz="213200" b="1" kern="10" spc="720" dirty="0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 </a:t>
            </a:r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duduk</a:t>
            </a:r>
            <a:endParaRPr lang="en-US" sz="213200" b="1" kern="10" spc="720" dirty="0">
              <a:ln w="3175">
                <a:solidFill>
                  <a:srgbClr val="FF9900"/>
                </a:solidFill>
                <a:round/>
                <a:headEnd/>
                <a:tailEnd/>
              </a:ln>
              <a:solidFill>
                <a:srgbClr val="FF9900"/>
              </a:solidFill>
              <a:effectLst>
                <a:outerShdw dist="45791" dir="3378596" algn="ctr" rotWithShape="0">
                  <a:srgbClr val="4D4D4D">
                    <a:alpha val="79999"/>
                  </a:srgbClr>
                </a:outerShdw>
              </a:effectLst>
              <a:latin typeface="Maiandra GD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-285784" y="6019800"/>
            <a:ext cx="9715568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Ibadah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Minggu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14 April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2013</a:t>
            </a:r>
            <a:r>
              <a:rPr lang="en-US" sz="32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Jemaat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nar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Raran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 </a:t>
            </a:r>
            <a:endParaRPr lang="en-US" sz="4000" b="1" cap="none" spc="0" dirty="0">
              <a:ln w="11430"/>
              <a:solidFill>
                <a:schemeClr val="bg1"/>
              </a:soli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Vijaya" pitchFamily="34" charset="0"/>
              <a:cs typeface="Vijaya" pitchFamily="34" charset="0"/>
            </a:endParaRPr>
          </a:p>
        </p:txBody>
      </p:sp>
    </p:spTree>
  </p:cSld>
  <p:clrMapOvr>
    <a:masterClrMapping/>
  </p:clrMapOvr>
  <p:transition>
    <p:checke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repeatCount="3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" presetID="12" presetClass="entr" presetSubtype="2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9" dur="5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D:\file-file\dok gereja\slide backround\The Cross is the Way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-1"/>
            <a:ext cx="9144000" cy="6858001"/>
          </a:xfrm>
          <a:prstGeom prst="rect">
            <a:avLst/>
          </a:prstGeom>
          <a:noFill/>
        </p:spPr>
      </p:pic>
      <p:sp>
        <p:nvSpPr>
          <p:cNvPr id="4" name="Title 11"/>
          <p:cNvSpPr txBox="1">
            <a:spLocks/>
          </p:cNvSpPr>
          <p:nvPr/>
        </p:nvSpPr>
        <p:spPr>
          <a:xfrm>
            <a:off x="1295400" y="2819400"/>
            <a:ext cx="6019800" cy="248132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uLnTx/>
                <a:uFillTx/>
                <a:latin typeface="MV Boli" pitchFamily="2" charset="0"/>
                <a:ea typeface="+mj-ea"/>
                <a:cs typeface="MV Boli" pitchFamily="2" charset="0"/>
              </a:rPr>
              <a:t>WARTA JEMAAT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uLnTx/>
              <a:uFillTx/>
              <a:latin typeface="MV Boli" pitchFamily="2" charset="0"/>
              <a:ea typeface="+mj-ea"/>
              <a:cs typeface="MV Boli" pitchFamily="2" charset="0"/>
            </a:endParaRPr>
          </a:p>
        </p:txBody>
      </p:sp>
      <p:pic>
        <p:nvPicPr>
          <p:cNvPr id="5" name="Picture 27" descr="Untitled-6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lum bright="11000"/>
          </a:blip>
          <a:srcRect/>
          <a:stretch>
            <a:fillRect/>
          </a:stretch>
        </p:blipFill>
        <p:spPr bwMode="auto">
          <a:xfrm>
            <a:off x="6248400" y="152400"/>
            <a:ext cx="2230824" cy="1728787"/>
          </a:xfrm>
          <a:prstGeom prst="rect">
            <a:avLst/>
          </a:prstGeom>
          <a:noFill/>
        </p:spPr>
      </p:pic>
      <p:sp>
        <p:nvSpPr>
          <p:cNvPr id="6" name="Rectangle 5"/>
          <p:cNvSpPr/>
          <p:nvPr/>
        </p:nvSpPr>
        <p:spPr>
          <a:xfrm>
            <a:off x="-285784" y="6019800"/>
            <a:ext cx="9715568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Ibadah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Minggu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14 April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2013</a:t>
            </a:r>
            <a:r>
              <a:rPr lang="en-US" sz="32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Jemaat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nar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Raran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 </a:t>
            </a:r>
            <a:endParaRPr lang="en-US" sz="4000" b="1" cap="none" spc="0" dirty="0">
              <a:ln w="11430"/>
              <a:solidFill>
                <a:schemeClr val="bg1"/>
              </a:soli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Vijaya" pitchFamily="34" charset="0"/>
              <a:cs typeface="Vijaya" pitchFamily="34" charset="0"/>
            </a:endParaRPr>
          </a:p>
        </p:txBody>
      </p:sp>
    </p:spTree>
  </p:cSld>
  <p:clrMapOvr>
    <a:masterClrMapping/>
  </p:clrMapOvr>
  <p:transition>
    <p:split orient="vert"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7" dur="5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6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10" dur="5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11" dur="5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12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3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4"/>
          <p:cNvSpPr txBox="1">
            <a:spLocks/>
          </p:cNvSpPr>
          <p:nvPr/>
        </p:nvSpPr>
        <p:spPr>
          <a:xfrm>
            <a:off x="0" y="1524000"/>
            <a:ext cx="9144000" cy="3810000"/>
          </a:xfrm>
          <a:prstGeom prst="rect">
            <a:avLst/>
          </a:prstGeom>
        </p:spPr>
        <p:txBody>
          <a:bodyPr/>
          <a:lstStyle/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2800" dirty="0"/>
              <a:t/>
            </a:r>
            <a:br>
              <a:rPr lang="en-US" sz="2800" dirty="0"/>
            </a:br>
            <a:r>
              <a:rPr lang="en-US" sz="3600" b="1" dirty="0">
                <a:latin typeface="Maiandra GD" pitchFamily="34" charset="0"/>
              </a:rPr>
              <a:t/>
            </a:r>
            <a:br>
              <a:rPr lang="en-US" sz="3600" b="1" dirty="0">
                <a:latin typeface="Maiandra GD" pitchFamily="34" charset="0"/>
              </a:rPr>
            </a:br>
            <a:endParaRPr lang="en-US" sz="3600" b="1" dirty="0" smtClean="0">
              <a:latin typeface="Maiandra GD" pitchFamily="34" charset="0"/>
            </a:endParaRP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000" b="1" i="1" dirty="0" smtClean="0">
                <a:latin typeface="Maiandra GD" pitchFamily="34" charset="0"/>
              </a:rPr>
              <a:t>“</a:t>
            </a:r>
            <a:r>
              <a:rPr lang="en-US" sz="4000" b="1" i="1" dirty="0" err="1" smtClean="0">
                <a:latin typeface="Maiandra GD" pitchFamily="34" charset="0"/>
              </a:rPr>
              <a:t>Bila</a:t>
            </a:r>
            <a:r>
              <a:rPr lang="en-US" sz="4000" b="1" i="1" dirty="0" smtClean="0">
                <a:latin typeface="Maiandra GD" pitchFamily="34" charset="0"/>
              </a:rPr>
              <a:t> </a:t>
            </a:r>
            <a:r>
              <a:rPr lang="en-US" sz="4000" b="1" i="1" dirty="0" err="1" smtClean="0">
                <a:latin typeface="Maiandra GD" pitchFamily="34" charset="0"/>
              </a:rPr>
              <a:t>Kurenungkan</a:t>
            </a:r>
            <a:r>
              <a:rPr lang="en-US" sz="4000" b="1" i="1" dirty="0" smtClean="0">
                <a:latin typeface="Maiandra GD" pitchFamily="34" charset="0"/>
              </a:rPr>
              <a:t>” </a:t>
            </a:r>
            <a:r>
              <a:rPr lang="en-US" sz="4000" b="1" i="1" dirty="0">
                <a:latin typeface="Maiandra GD" pitchFamily="34" charset="0"/>
              </a:rPr>
              <a:t/>
            </a:r>
            <a:br>
              <a:rPr lang="en-US" sz="4000" b="1" i="1" dirty="0">
                <a:latin typeface="Maiandra GD" pitchFamily="34" charset="0"/>
              </a:rPr>
            </a:br>
            <a:r>
              <a:rPr lang="en-US" sz="2800" dirty="0"/>
              <a:t/>
            </a:r>
            <a:br>
              <a:rPr lang="en-US" sz="2800" dirty="0"/>
            </a:b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Text Box 2"/>
          <p:cNvSpPr txBox="1">
            <a:spLocks noChangeArrowheads="1"/>
          </p:cNvSpPr>
          <p:nvPr/>
        </p:nvSpPr>
        <p:spPr bwMode="auto">
          <a:xfrm>
            <a:off x="0" y="0"/>
            <a:ext cx="9144000" cy="707886"/>
          </a:xfrm>
          <a:prstGeom prst="rect">
            <a:avLst/>
          </a:prstGeom>
          <a:solidFill>
            <a:schemeClr val="accent6">
              <a:alpha val="43000"/>
            </a:schemeClr>
          </a:soli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26C96">
                <a:alpha val="50000"/>
              </a:srgbClr>
            </a:prstShdw>
          </a:effectLst>
        </p:spPr>
        <p:txBody>
          <a:bodyPr wrap="square">
            <a:spAutoFit/>
          </a:bodyPr>
          <a:lstStyle/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000" b="1" kern="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NYANYIAN PENUTUP</a:t>
            </a:r>
            <a:endParaRPr lang="en-US" sz="3200" b="1" kern="0" dirty="0"/>
          </a:p>
        </p:txBody>
      </p:sp>
      <p:sp>
        <p:nvSpPr>
          <p:cNvPr id="4" name="Content Placeholder 14"/>
          <p:cNvSpPr txBox="1">
            <a:spLocks/>
          </p:cNvSpPr>
          <p:nvPr/>
        </p:nvSpPr>
        <p:spPr>
          <a:xfrm>
            <a:off x="533400" y="3048000"/>
            <a:ext cx="8763000" cy="1828800"/>
          </a:xfrm>
          <a:prstGeom prst="rect">
            <a:avLst/>
          </a:prstGeom>
        </p:spPr>
        <p:txBody>
          <a:bodyPr/>
          <a:lstStyle/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2800" dirty="0"/>
              <a:t/>
            </a:r>
            <a:br>
              <a:rPr lang="en-US" sz="2800" dirty="0"/>
            </a:br>
            <a:r>
              <a:rPr lang="en-US" sz="3600" b="1" dirty="0">
                <a:latin typeface="Maiandra GD" pitchFamily="34" charset="0"/>
              </a:rPr>
              <a:t/>
            </a:r>
            <a:br>
              <a:rPr lang="en-US" sz="3600" b="1" dirty="0">
                <a:latin typeface="Maiandra GD" pitchFamily="34" charset="0"/>
              </a:rPr>
            </a:br>
            <a:endParaRPr lang="en-US" sz="3600" b="1" dirty="0" smtClean="0">
              <a:latin typeface="Maiandra GD" pitchFamily="34" charset="0"/>
            </a:endParaRP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000" b="1" i="1" dirty="0" smtClean="0">
                <a:solidFill>
                  <a:schemeClr val="bg1"/>
                </a:solidFill>
                <a:latin typeface="Maiandra GD" pitchFamily="34" charset="0"/>
              </a:rPr>
              <a:t>      </a:t>
            </a:r>
            <a:r>
              <a:rPr lang="en-US" sz="4000" b="1" i="1" dirty="0">
                <a:latin typeface="Maiandra GD" pitchFamily="34" charset="0"/>
              </a:rPr>
              <a:t/>
            </a:r>
            <a:br>
              <a:rPr lang="en-US" sz="4000" b="1" i="1" dirty="0">
                <a:latin typeface="Maiandra GD" pitchFamily="34" charset="0"/>
              </a:rPr>
            </a:br>
            <a:r>
              <a:rPr lang="en-US" sz="2800" dirty="0"/>
              <a:t/>
            </a:r>
            <a:br>
              <a:rPr lang="en-US" sz="2800" dirty="0"/>
            </a:b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-285784" y="6019800"/>
            <a:ext cx="9715568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Ibadah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Minggu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14 </a:t>
            </a:r>
            <a:r>
              <a:rPr lang="en-US" sz="3200" b="1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april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2013</a:t>
            </a:r>
            <a:r>
              <a:rPr lang="en-US" sz="32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Jemaat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nar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Raran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 </a:t>
            </a:r>
            <a:endParaRPr lang="en-US" sz="4000" b="1" cap="none" spc="0" dirty="0">
              <a:ln w="11430"/>
              <a:solidFill>
                <a:schemeClr val="bg1"/>
              </a:soli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Vijaya" pitchFamily="34" charset="0"/>
              <a:cs typeface="Vijaya" pitchFamily="34" charset="0"/>
            </a:endParaRPr>
          </a:p>
        </p:txBody>
      </p:sp>
    </p:spTree>
  </p:cSld>
  <p:clrMapOvr>
    <a:masterClrMapping/>
  </p:clrMapOvr>
  <p:transition>
    <p:cover dir="l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7" dur="5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D:\file-file\dok gereja\slide backround\images (3)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49174"/>
          </a:xfrm>
          <a:prstGeom prst="rect">
            <a:avLst/>
          </a:prstGeom>
          <a:noFill/>
        </p:spPr>
      </p:pic>
      <p:sp>
        <p:nvSpPr>
          <p:cNvPr id="4" name="TextBox 3"/>
          <p:cNvSpPr txBox="1"/>
          <p:nvPr/>
        </p:nvSpPr>
        <p:spPr>
          <a:xfrm>
            <a:off x="381000" y="1592282"/>
            <a:ext cx="731520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KEMULIAAN BAGI ALLAH</a:t>
            </a:r>
          </a:p>
          <a:p>
            <a:r>
              <a:rPr lang="en-US" sz="2800" b="1" dirty="0" err="1" smtClean="0">
                <a:solidFill>
                  <a:schemeClr val="bg1"/>
                </a:solidFill>
              </a:rPr>
              <a:t>Pujilah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Tuhan</a:t>
            </a:r>
            <a:r>
              <a:rPr lang="en-US" sz="2800" b="1" dirty="0" smtClean="0">
                <a:solidFill>
                  <a:schemeClr val="bg1"/>
                </a:solidFill>
              </a:rPr>
              <a:t>, </a:t>
            </a:r>
            <a:r>
              <a:rPr lang="en-US" sz="2800" b="1" dirty="0" err="1" smtClean="0">
                <a:solidFill>
                  <a:schemeClr val="bg1"/>
                </a:solidFill>
              </a:rPr>
              <a:t>marilah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berjalan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ke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rumahNya</a:t>
            </a:r>
            <a:endParaRPr lang="en-US" sz="2800" b="1" dirty="0" smtClean="0">
              <a:solidFill>
                <a:schemeClr val="bg1"/>
              </a:solidFill>
            </a:endParaRPr>
          </a:p>
          <a:p>
            <a:r>
              <a:rPr lang="en-US" sz="2800" b="1" dirty="0" err="1" smtClean="0">
                <a:solidFill>
                  <a:schemeClr val="bg1"/>
                </a:solidFill>
              </a:rPr>
              <a:t>Pujilah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Tuhan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angkatlah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tanganMu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kepadaNya</a:t>
            </a:r>
            <a:endParaRPr lang="en-US" sz="2800" b="1" dirty="0" smtClean="0">
              <a:solidFill>
                <a:schemeClr val="bg1"/>
              </a:solidFill>
            </a:endParaRPr>
          </a:p>
          <a:p>
            <a:r>
              <a:rPr lang="en-US" sz="2800" b="1" dirty="0" err="1" smtClean="0">
                <a:solidFill>
                  <a:schemeClr val="bg1"/>
                </a:solidFill>
              </a:rPr>
              <a:t>Kiranya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khalik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dunia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memberkati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umatNya</a:t>
            </a:r>
            <a:endParaRPr lang="en-US" sz="2800" b="1" dirty="0" smtClean="0">
              <a:solidFill>
                <a:schemeClr val="bg1"/>
              </a:solidFill>
            </a:endParaRPr>
          </a:p>
          <a:p>
            <a:r>
              <a:rPr lang="en-US" sz="2800" b="1" dirty="0" smtClean="0">
                <a:solidFill>
                  <a:schemeClr val="bg1"/>
                </a:solidFill>
              </a:rPr>
              <a:t>Yang </a:t>
            </a:r>
            <a:r>
              <a:rPr lang="en-US" sz="2800" b="1" dirty="0" err="1" smtClean="0">
                <a:solidFill>
                  <a:schemeClr val="bg1"/>
                </a:solidFill>
              </a:rPr>
              <a:t>datang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berbakti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dan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melayani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Dia</a:t>
            </a:r>
            <a:endParaRPr lang="en-US" sz="2800" b="1" dirty="0" smtClean="0">
              <a:solidFill>
                <a:schemeClr val="bg1"/>
              </a:solidFill>
            </a:endParaRPr>
          </a:p>
          <a:p>
            <a:r>
              <a:rPr lang="en-US" sz="2800" b="1" dirty="0" err="1" smtClean="0">
                <a:solidFill>
                  <a:schemeClr val="bg1"/>
                </a:solidFill>
              </a:rPr>
              <a:t>Marilah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kita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memuliakan</a:t>
            </a:r>
            <a:r>
              <a:rPr lang="en-US" sz="2800" b="1" dirty="0" smtClean="0">
                <a:solidFill>
                  <a:schemeClr val="bg1"/>
                </a:solidFill>
              </a:rPr>
              <a:t> Allah </a:t>
            </a:r>
            <a:r>
              <a:rPr lang="en-US" sz="2800" b="1" dirty="0" err="1" smtClean="0">
                <a:solidFill>
                  <a:schemeClr val="bg1"/>
                </a:solidFill>
              </a:rPr>
              <a:t>kita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dengan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menyanyi</a:t>
            </a:r>
            <a:endParaRPr lang="en-US" sz="2800" b="1" dirty="0" smtClean="0">
              <a:solidFill>
                <a:schemeClr val="bg1"/>
              </a:solidFill>
            </a:endParaRPr>
          </a:p>
          <a:p>
            <a:r>
              <a:rPr lang="en-US" sz="2800" b="1" dirty="0" smtClean="0">
                <a:solidFill>
                  <a:schemeClr val="bg1"/>
                </a:solidFill>
              </a:rPr>
              <a:t>“</a:t>
            </a:r>
            <a:r>
              <a:rPr lang="en-US" sz="2800" b="1" dirty="0" err="1" smtClean="0">
                <a:solidFill>
                  <a:schemeClr val="bg1"/>
                </a:solidFill>
              </a:rPr>
              <a:t>Kuada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Sebagaimana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Kuada</a:t>
            </a:r>
            <a:r>
              <a:rPr lang="en-US" sz="2800" b="1" dirty="0" smtClean="0">
                <a:solidFill>
                  <a:schemeClr val="bg1"/>
                </a:solidFill>
              </a:rPr>
              <a:t>”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-285784" y="6019800"/>
            <a:ext cx="9715568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Ibadah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Minggu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14 April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2013</a:t>
            </a:r>
            <a:r>
              <a:rPr lang="en-US" sz="32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Jemaat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nar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Raran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 </a:t>
            </a:r>
            <a:endParaRPr lang="en-US" sz="4000" b="1" cap="none" spc="0" dirty="0">
              <a:ln w="11430"/>
              <a:solidFill>
                <a:schemeClr val="bg1"/>
              </a:soli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Vijaya" pitchFamily="34" charset="0"/>
              <a:cs typeface="Vijay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7" dur="5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:\file-file\dok gereja\slide backround\gitar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1113" y="0"/>
            <a:ext cx="91551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0" y="0"/>
            <a:ext cx="9144000" cy="769441"/>
          </a:xfrm>
          <a:prstGeom prst="rect">
            <a:avLst/>
          </a:prstGeom>
          <a:solidFill>
            <a:srgbClr val="00B050">
              <a:alpha val="52000"/>
            </a:srgbClr>
          </a:soli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26C96">
                <a:alpha val="50000"/>
              </a:srgbClr>
            </a:prstShdw>
          </a:effectLst>
        </p:spPr>
        <p:txBody>
          <a:bodyPr wrap="square">
            <a:spAutoFit/>
          </a:bodyPr>
          <a:lstStyle/>
          <a:p>
            <a:pPr marL="914400" lvl="0" indent="-9144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Bila</a:t>
            </a:r>
            <a:r>
              <a:rPr lang="en-US" sz="4400" b="1" kern="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 </a:t>
            </a: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Kurenungkan</a:t>
            </a:r>
            <a:endParaRPr lang="en-US" sz="3600" b="1" kern="0" dirty="0">
              <a:solidFill>
                <a:srgbClr val="FFFF00"/>
              </a:solidFill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428625" y="1000125"/>
            <a:ext cx="8858250" cy="5293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4000" dirty="0" err="1">
                <a:solidFill>
                  <a:schemeClr val="bg1"/>
                </a:solidFill>
              </a:rPr>
              <a:t>Bila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kurenungkan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kasih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Tuhan</a:t>
            </a:r>
            <a:r>
              <a:rPr lang="en-US" sz="4000" dirty="0">
                <a:solidFill>
                  <a:schemeClr val="bg1"/>
                </a:solidFill>
              </a:rPr>
              <a:t>,                    yang </a:t>
            </a:r>
            <a:r>
              <a:rPr lang="en-US" sz="4000" dirty="0" err="1">
                <a:solidFill>
                  <a:schemeClr val="bg1"/>
                </a:solidFill>
              </a:rPr>
              <a:t>t’lah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menyelamatkan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diriku</a:t>
            </a:r>
            <a:r>
              <a:rPr lang="en-US" sz="4000" dirty="0">
                <a:solidFill>
                  <a:schemeClr val="bg1"/>
                </a:solidFill>
              </a:rPr>
              <a:t/>
            </a:r>
            <a:br>
              <a:rPr lang="en-US" sz="4000" dirty="0">
                <a:solidFill>
                  <a:schemeClr val="bg1"/>
                </a:solidFill>
              </a:rPr>
            </a:br>
            <a:r>
              <a:rPr lang="en-US" sz="4000" dirty="0" err="1">
                <a:solidFill>
                  <a:schemeClr val="bg1"/>
                </a:solidFill>
              </a:rPr>
              <a:t>Walau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salib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berat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ditanggungNya</a:t>
            </a:r>
            <a:r>
              <a:rPr lang="en-US" sz="4000" dirty="0" smtClean="0">
                <a:solidFill>
                  <a:schemeClr val="bg1"/>
                </a:solidFill>
              </a:rPr>
              <a:t>,                          </a:t>
            </a:r>
            <a:r>
              <a:rPr lang="en-US" sz="4000" dirty="0" err="1">
                <a:solidFill>
                  <a:schemeClr val="bg1"/>
                </a:solidFill>
              </a:rPr>
              <a:t>apa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balasanku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padaNya</a:t>
            </a:r>
            <a:r>
              <a:rPr lang="en-US" sz="4000" dirty="0">
                <a:solidFill>
                  <a:schemeClr val="bg1"/>
                </a:solidFill>
              </a:rPr>
              <a:t> ?</a:t>
            </a:r>
            <a:br>
              <a:rPr lang="en-US" sz="4000" dirty="0">
                <a:solidFill>
                  <a:schemeClr val="bg1"/>
                </a:solidFill>
              </a:rPr>
            </a:br>
            <a:r>
              <a:rPr lang="en-US" sz="4000" dirty="0" err="1">
                <a:solidFill>
                  <a:schemeClr val="bg1"/>
                </a:solidFill>
              </a:rPr>
              <a:t>Sperti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Kristus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mengasihi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daku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smtClean="0">
                <a:solidFill>
                  <a:schemeClr val="bg1"/>
                </a:solidFill>
              </a:rPr>
              <a:t>                          </a:t>
            </a:r>
            <a:r>
              <a:rPr lang="en-US" sz="4000" dirty="0" err="1">
                <a:solidFill>
                  <a:schemeClr val="bg1"/>
                </a:solidFill>
              </a:rPr>
              <a:t>ku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mau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mengasihiNya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selalu</a:t>
            </a:r>
            <a:r>
              <a:rPr lang="en-US" sz="4000" dirty="0">
                <a:solidFill>
                  <a:schemeClr val="bg1"/>
                </a:solidFill>
              </a:rPr>
              <a:t/>
            </a:r>
            <a:br>
              <a:rPr lang="en-US" sz="4000" dirty="0">
                <a:solidFill>
                  <a:schemeClr val="bg1"/>
                </a:solidFill>
              </a:rPr>
            </a:br>
            <a:r>
              <a:rPr lang="en-US" sz="4000" dirty="0" err="1">
                <a:solidFill>
                  <a:schemeClr val="bg1"/>
                </a:solidFill>
              </a:rPr>
              <a:t>Membawa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t’rang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Injil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kes’lamatan</a:t>
            </a:r>
            <a:r>
              <a:rPr lang="en-US" sz="4000" dirty="0">
                <a:solidFill>
                  <a:schemeClr val="bg1"/>
                </a:solidFill>
              </a:rPr>
              <a:t>, </a:t>
            </a:r>
            <a:r>
              <a:rPr lang="en-US" sz="4000" dirty="0" err="1">
                <a:solidFill>
                  <a:schemeClr val="bg1"/>
                </a:solidFill>
              </a:rPr>
              <a:t>sampai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Tuhan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datang</a:t>
            </a:r>
            <a:r>
              <a:rPr lang="en-US" sz="4000" dirty="0">
                <a:solidFill>
                  <a:schemeClr val="bg1"/>
                </a:solidFill>
              </a:rPr>
              <a:t> </a:t>
            </a:r>
            <a:r>
              <a:rPr lang="en-US" sz="4000" dirty="0" err="1">
                <a:solidFill>
                  <a:schemeClr val="bg1"/>
                </a:solidFill>
              </a:rPr>
              <a:t>kembali</a:t>
            </a:r>
            <a:r>
              <a:rPr lang="en-US" dirty="0">
                <a:solidFill>
                  <a:schemeClr val="bg1"/>
                </a:solidFill>
              </a:rPr>
              <a:t/>
            </a:r>
            <a:br>
              <a:rPr lang="en-US" dirty="0">
                <a:solidFill>
                  <a:schemeClr val="bg1"/>
                </a:solidFill>
              </a:rPr>
            </a:br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>
    <p:comb dir="vert"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:\file-file\dok gereja\slide backround\gitar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1113" y="0"/>
            <a:ext cx="91551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0" y="0"/>
            <a:ext cx="9144000" cy="769441"/>
          </a:xfrm>
          <a:prstGeom prst="rect">
            <a:avLst/>
          </a:prstGeom>
          <a:solidFill>
            <a:srgbClr val="00B050">
              <a:alpha val="52000"/>
            </a:srgbClr>
          </a:soli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26C96">
                <a:alpha val="50000"/>
              </a:srgbClr>
            </a:prstShdw>
          </a:effectLst>
        </p:spPr>
        <p:txBody>
          <a:bodyPr wrap="square">
            <a:spAutoFit/>
          </a:bodyPr>
          <a:lstStyle/>
          <a:p>
            <a:pPr marL="914400" lvl="0" indent="-9144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Bila</a:t>
            </a:r>
            <a:r>
              <a:rPr lang="en-US" sz="4400" b="1" kern="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 </a:t>
            </a:r>
            <a:r>
              <a:rPr lang="en-US" sz="4400" b="1" kern="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Kurenungkan</a:t>
            </a:r>
            <a:endParaRPr lang="en-US" sz="3600" b="1" kern="0" dirty="0">
              <a:solidFill>
                <a:srgbClr val="FFFF00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28625" y="1447799"/>
            <a:ext cx="8858250" cy="3600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/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sz="4800" dirty="0">
                <a:solidFill>
                  <a:schemeClr val="bg1"/>
                </a:solidFill>
              </a:rPr>
              <a:t>Oh </a:t>
            </a:r>
            <a:r>
              <a:rPr lang="en-US" sz="4800" dirty="0" err="1">
                <a:solidFill>
                  <a:schemeClr val="bg1"/>
                </a:solidFill>
              </a:rPr>
              <a:t>bukan</a:t>
            </a:r>
            <a:r>
              <a:rPr lang="en-US" sz="4800" dirty="0">
                <a:solidFill>
                  <a:schemeClr val="bg1"/>
                </a:solidFill>
              </a:rPr>
              <a:t> </a:t>
            </a:r>
            <a:r>
              <a:rPr lang="en-US" sz="4800" dirty="0" err="1">
                <a:solidFill>
                  <a:schemeClr val="bg1"/>
                </a:solidFill>
              </a:rPr>
              <a:t>pada</a:t>
            </a:r>
            <a:r>
              <a:rPr lang="en-US" sz="4800" dirty="0">
                <a:solidFill>
                  <a:schemeClr val="bg1"/>
                </a:solidFill>
              </a:rPr>
              <a:t> </a:t>
            </a:r>
            <a:r>
              <a:rPr lang="en-US" sz="4800" dirty="0" err="1">
                <a:solidFill>
                  <a:schemeClr val="bg1"/>
                </a:solidFill>
              </a:rPr>
              <a:t>harta</a:t>
            </a:r>
            <a:r>
              <a:rPr lang="en-US" sz="4800" dirty="0">
                <a:solidFill>
                  <a:schemeClr val="bg1"/>
                </a:solidFill>
              </a:rPr>
              <a:t> yang </a:t>
            </a:r>
            <a:r>
              <a:rPr lang="en-US" sz="4800" dirty="0" err="1">
                <a:solidFill>
                  <a:schemeClr val="bg1"/>
                </a:solidFill>
              </a:rPr>
              <a:t>fana</a:t>
            </a:r>
            <a:r>
              <a:rPr lang="en-US" sz="4800" dirty="0">
                <a:solidFill>
                  <a:schemeClr val="bg1"/>
                </a:solidFill>
              </a:rPr>
              <a:t>, </a:t>
            </a:r>
            <a:r>
              <a:rPr lang="en-US" sz="4800" dirty="0" err="1">
                <a:solidFill>
                  <a:schemeClr val="bg1"/>
                </a:solidFill>
              </a:rPr>
              <a:t>sukacita</a:t>
            </a:r>
            <a:r>
              <a:rPr lang="en-US" sz="4800" dirty="0">
                <a:solidFill>
                  <a:schemeClr val="bg1"/>
                </a:solidFill>
              </a:rPr>
              <a:t> </a:t>
            </a:r>
            <a:r>
              <a:rPr lang="en-US" sz="4800" dirty="0" err="1">
                <a:solidFill>
                  <a:schemeClr val="bg1"/>
                </a:solidFill>
              </a:rPr>
              <a:t>itu</a:t>
            </a:r>
            <a:r>
              <a:rPr lang="en-US" sz="4800" dirty="0">
                <a:solidFill>
                  <a:schemeClr val="bg1"/>
                </a:solidFill>
              </a:rPr>
              <a:t> </a:t>
            </a:r>
            <a:r>
              <a:rPr lang="en-US" sz="4800" dirty="0" err="1">
                <a:solidFill>
                  <a:schemeClr val="bg1"/>
                </a:solidFill>
              </a:rPr>
              <a:t>bertumpu</a:t>
            </a:r>
            <a:r>
              <a:rPr lang="en-US" sz="4800" dirty="0">
                <a:solidFill>
                  <a:schemeClr val="bg1"/>
                </a:solidFill>
              </a:rPr>
              <a:t/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4800" dirty="0" err="1">
                <a:solidFill>
                  <a:schemeClr val="bg1"/>
                </a:solidFill>
              </a:rPr>
              <a:t>tapi</a:t>
            </a:r>
            <a:r>
              <a:rPr lang="en-US" sz="4800" dirty="0">
                <a:solidFill>
                  <a:schemeClr val="bg1"/>
                </a:solidFill>
              </a:rPr>
              <a:t> </a:t>
            </a:r>
            <a:r>
              <a:rPr lang="en-US" sz="4800" dirty="0" err="1">
                <a:solidFill>
                  <a:schemeClr val="bg1"/>
                </a:solidFill>
              </a:rPr>
              <a:t>sungguh</a:t>
            </a:r>
            <a:r>
              <a:rPr lang="en-US" sz="4800" dirty="0">
                <a:solidFill>
                  <a:schemeClr val="bg1"/>
                </a:solidFill>
              </a:rPr>
              <a:t> </a:t>
            </a:r>
            <a:r>
              <a:rPr lang="en-US" sz="4800" dirty="0" err="1">
                <a:solidFill>
                  <a:schemeClr val="bg1"/>
                </a:solidFill>
              </a:rPr>
              <a:t>takkan</a:t>
            </a:r>
            <a:r>
              <a:rPr lang="en-US" sz="4800" dirty="0">
                <a:solidFill>
                  <a:schemeClr val="bg1"/>
                </a:solidFill>
              </a:rPr>
              <a:t> </a:t>
            </a:r>
            <a:r>
              <a:rPr lang="en-US" sz="4800" dirty="0" err="1">
                <a:solidFill>
                  <a:schemeClr val="bg1"/>
                </a:solidFill>
              </a:rPr>
              <a:t>percuma</a:t>
            </a:r>
            <a:r>
              <a:rPr lang="en-US" sz="4800" dirty="0">
                <a:solidFill>
                  <a:schemeClr val="bg1"/>
                </a:solidFill>
              </a:rPr>
              <a:t/>
            </a:r>
            <a:br>
              <a:rPr lang="en-US" sz="4800" dirty="0">
                <a:solidFill>
                  <a:schemeClr val="bg1"/>
                </a:solidFill>
              </a:rPr>
            </a:br>
            <a:r>
              <a:rPr lang="en-US" sz="4800" dirty="0" err="1">
                <a:solidFill>
                  <a:schemeClr val="bg1"/>
                </a:solidFill>
              </a:rPr>
              <a:t>bila</a:t>
            </a:r>
            <a:r>
              <a:rPr lang="en-US" sz="4800" dirty="0">
                <a:solidFill>
                  <a:schemeClr val="bg1"/>
                </a:solidFill>
              </a:rPr>
              <a:t> </a:t>
            </a:r>
            <a:r>
              <a:rPr lang="en-US" sz="4800" dirty="0" err="1">
                <a:solidFill>
                  <a:schemeClr val="bg1"/>
                </a:solidFill>
              </a:rPr>
              <a:t>melayani</a:t>
            </a:r>
            <a:r>
              <a:rPr lang="en-US" sz="4800" dirty="0">
                <a:solidFill>
                  <a:schemeClr val="bg1"/>
                </a:solidFill>
              </a:rPr>
              <a:t> </a:t>
            </a:r>
            <a:r>
              <a:rPr lang="en-US" sz="4800" dirty="0" err="1">
                <a:solidFill>
                  <a:schemeClr val="bg1"/>
                </a:solidFill>
              </a:rPr>
              <a:t>Tuhanku</a:t>
            </a:r>
            <a:r>
              <a:rPr lang="en-US" sz="4800" dirty="0">
                <a:solidFill>
                  <a:schemeClr val="bg1"/>
                </a:solidFill>
              </a:rPr>
              <a:t/>
            </a:r>
            <a:br>
              <a:rPr lang="en-US" sz="4800" dirty="0">
                <a:solidFill>
                  <a:schemeClr val="bg1"/>
                </a:solidFill>
              </a:rPr>
            </a:br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>
    <p:comb dir="vert"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:\file-file\dok gereja\slide backround\light-candle-in-darkness-300x225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>
          <a:xfrm>
            <a:off x="304800" y="0"/>
            <a:ext cx="8534401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Berkat</a:t>
            </a:r>
            <a:endParaRPr lang="en-US" sz="54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  <a:latin typeface="Comic Sans MS" pitchFamily="66" charset="0"/>
            </a:endParaRPr>
          </a:p>
        </p:txBody>
      </p:sp>
      <p:sp>
        <p:nvSpPr>
          <p:cNvPr id="5" name="Content Placeholder 14"/>
          <p:cNvSpPr txBox="1">
            <a:spLocks/>
          </p:cNvSpPr>
          <p:nvPr/>
        </p:nvSpPr>
        <p:spPr>
          <a:xfrm>
            <a:off x="-838200" y="457200"/>
            <a:ext cx="9296400" cy="4114800"/>
          </a:xfrm>
          <a:prstGeom prst="rect">
            <a:avLst/>
          </a:prstGeom>
          <a:effectLst>
            <a:outerShdw blurRad="50800" dist="50800" dir="5400000" algn="ctr" rotWithShape="0">
              <a:srgbClr val="FFC000"/>
            </a:outerShdw>
          </a:effectLst>
        </p:spPr>
        <p:txBody>
          <a:bodyPr/>
          <a:lstStyle/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2800" dirty="0"/>
              <a:t/>
            </a:r>
            <a:br>
              <a:rPr lang="en-US" sz="2800" dirty="0"/>
            </a:br>
            <a:r>
              <a:rPr lang="en-US" sz="4400" b="1" dirty="0">
                <a:solidFill>
                  <a:schemeClr val="bg1"/>
                </a:solidFill>
                <a:latin typeface="Maiandra GD" pitchFamily="34" charset="0"/>
              </a:rPr>
              <a:t>P : </a:t>
            </a:r>
            <a:r>
              <a:rPr lang="en-US" sz="4400" b="1" dirty="0" smtClean="0">
                <a:solidFill>
                  <a:schemeClr val="bg1"/>
                </a:solidFill>
                <a:latin typeface="Maiandra GD" pitchFamily="34" charset="0"/>
              </a:rPr>
              <a:t>	</a:t>
            </a:r>
            <a:r>
              <a:rPr lang="en-US" sz="4400" b="1" dirty="0" err="1" smtClean="0">
                <a:solidFill>
                  <a:schemeClr val="bg1"/>
                </a:solidFill>
                <a:latin typeface="Maiandra GD" pitchFamily="34" charset="0"/>
              </a:rPr>
              <a:t>Kasih</a:t>
            </a:r>
            <a:r>
              <a:rPr lang="en-US" sz="44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4400" b="1" dirty="0" err="1">
                <a:solidFill>
                  <a:schemeClr val="bg1"/>
                </a:solidFill>
                <a:latin typeface="Maiandra GD" pitchFamily="34" charset="0"/>
              </a:rPr>
              <a:t>Karunia</a:t>
            </a:r>
            <a:r>
              <a:rPr lang="en-US" sz="4400" b="1" dirty="0">
                <a:solidFill>
                  <a:schemeClr val="bg1"/>
                </a:solidFill>
                <a:latin typeface="Maiandra GD" pitchFamily="34" charset="0"/>
              </a:rPr>
              <a:t> TUHAN </a:t>
            </a:r>
            <a:r>
              <a:rPr lang="en-US" sz="4400" b="1" dirty="0" smtClean="0">
                <a:solidFill>
                  <a:schemeClr val="bg1"/>
                </a:solidFill>
                <a:latin typeface="Maiandra GD" pitchFamily="34" charset="0"/>
              </a:rPr>
              <a:t>	</a:t>
            </a:r>
            <a:r>
              <a:rPr lang="en-US" sz="4400" b="1" dirty="0" err="1" smtClean="0">
                <a:solidFill>
                  <a:schemeClr val="bg1"/>
                </a:solidFill>
                <a:latin typeface="Maiandra GD" pitchFamily="34" charset="0"/>
              </a:rPr>
              <a:t>Yesus</a:t>
            </a:r>
            <a:r>
              <a:rPr lang="en-US" sz="44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4400" b="1" dirty="0" err="1" smtClean="0">
                <a:solidFill>
                  <a:schemeClr val="bg1"/>
                </a:solidFill>
                <a:latin typeface="Maiandra GD" pitchFamily="34" charset="0"/>
              </a:rPr>
              <a:t>Kristus</a:t>
            </a:r>
            <a:r>
              <a:rPr lang="en-US" sz="44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dirty="0" smtClean="0">
                <a:solidFill>
                  <a:schemeClr val="bg1"/>
                </a:solidFill>
                <a:latin typeface="Maiandra GD" pitchFamily="34" charset="0"/>
              </a:rPr>
              <a:t>			</a:t>
            </a:r>
            <a:r>
              <a:rPr lang="en-US" sz="4400" b="1" dirty="0" err="1" smtClean="0">
                <a:solidFill>
                  <a:schemeClr val="bg1"/>
                </a:solidFill>
                <a:latin typeface="Maiandra GD" pitchFamily="34" charset="0"/>
              </a:rPr>
              <a:t>dan</a:t>
            </a:r>
            <a:r>
              <a:rPr lang="en-US" sz="44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4400" b="1" dirty="0" err="1">
                <a:solidFill>
                  <a:schemeClr val="bg1"/>
                </a:solidFill>
                <a:latin typeface="Maiandra GD" pitchFamily="34" charset="0"/>
              </a:rPr>
              <a:t>kasih</a:t>
            </a:r>
            <a:r>
              <a:rPr lang="en-US" sz="4400" b="1" dirty="0">
                <a:solidFill>
                  <a:schemeClr val="bg1"/>
                </a:solidFill>
                <a:latin typeface="Maiandra GD" pitchFamily="34" charset="0"/>
              </a:rPr>
              <a:t> Allah </a:t>
            </a:r>
            <a:endParaRPr lang="en-US" sz="4400" b="1" dirty="0" smtClean="0">
              <a:solidFill>
                <a:schemeClr val="bg1"/>
              </a:solidFill>
              <a:latin typeface="Maiandra GD" pitchFamily="34" charset="0"/>
            </a:endParaRP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dirty="0" smtClean="0">
                <a:solidFill>
                  <a:schemeClr val="bg1"/>
                </a:solidFill>
                <a:latin typeface="Maiandra GD" pitchFamily="34" charset="0"/>
              </a:rPr>
              <a:t>			</a:t>
            </a:r>
            <a:r>
              <a:rPr lang="en-US" sz="4400" b="1" dirty="0" err="1" smtClean="0">
                <a:solidFill>
                  <a:schemeClr val="bg1"/>
                </a:solidFill>
                <a:latin typeface="Maiandra GD" pitchFamily="34" charset="0"/>
              </a:rPr>
              <a:t>dan</a:t>
            </a:r>
            <a:r>
              <a:rPr lang="en-US" sz="4400" b="1" dirty="0" smtClean="0">
                <a:solidFill>
                  <a:schemeClr val="bg1"/>
                </a:solidFill>
                <a:latin typeface="Maiandra GD" pitchFamily="34" charset="0"/>
              </a:rPr>
              <a:t> Persekutuan </a:t>
            </a:r>
            <a:r>
              <a:rPr lang="en-US" sz="4400" b="1" dirty="0" err="1">
                <a:solidFill>
                  <a:schemeClr val="bg1"/>
                </a:solidFill>
                <a:latin typeface="Maiandra GD" pitchFamily="34" charset="0"/>
              </a:rPr>
              <a:t>dengan</a:t>
            </a:r>
            <a:r>
              <a:rPr lang="en-US" sz="4400" b="1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4400" b="1" dirty="0" smtClean="0">
                <a:solidFill>
                  <a:schemeClr val="bg1"/>
                </a:solidFill>
                <a:latin typeface="Maiandra GD" pitchFamily="34" charset="0"/>
              </a:rPr>
              <a:t>	</a:t>
            </a:r>
            <a:r>
              <a:rPr lang="en-US" sz="4400" b="1" dirty="0" err="1" smtClean="0">
                <a:solidFill>
                  <a:schemeClr val="bg1"/>
                </a:solidFill>
                <a:latin typeface="Maiandra GD" pitchFamily="34" charset="0"/>
              </a:rPr>
              <a:t>Roh</a:t>
            </a:r>
            <a:r>
              <a:rPr lang="en-US" sz="4400" b="1" dirty="0" smtClean="0">
                <a:solidFill>
                  <a:schemeClr val="bg1"/>
                </a:solidFill>
                <a:latin typeface="Maiandra GD" pitchFamily="34" charset="0"/>
              </a:rPr>
              <a:t> Kudus </a:t>
            </a: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dirty="0" smtClean="0">
                <a:solidFill>
                  <a:schemeClr val="bg1"/>
                </a:solidFill>
                <a:latin typeface="Maiandra GD" pitchFamily="34" charset="0"/>
              </a:rPr>
              <a:t>			</a:t>
            </a:r>
            <a:r>
              <a:rPr lang="en-US" sz="4400" b="1" dirty="0" err="1" smtClean="0">
                <a:solidFill>
                  <a:schemeClr val="bg1"/>
                </a:solidFill>
                <a:latin typeface="Maiandra GD" pitchFamily="34" charset="0"/>
              </a:rPr>
              <a:t>menyertai</a:t>
            </a:r>
            <a:r>
              <a:rPr lang="en-US" sz="4400" b="1" dirty="0" smtClean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4400" b="1" dirty="0" err="1">
                <a:solidFill>
                  <a:schemeClr val="bg1"/>
                </a:solidFill>
                <a:latin typeface="Maiandra GD" pitchFamily="34" charset="0"/>
              </a:rPr>
              <a:t>saudara</a:t>
            </a:r>
            <a:r>
              <a:rPr lang="en-US" sz="4400" b="1" dirty="0">
                <a:solidFill>
                  <a:schemeClr val="bg1"/>
                </a:solidFill>
                <a:latin typeface="Maiandra GD" pitchFamily="34" charset="0"/>
              </a:rPr>
              <a:t> </a:t>
            </a:r>
            <a:r>
              <a:rPr lang="en-US" sz="4400" b="1" dirty="0" err="1">
                <a:solidFill>
                  <a:schemeClr val="bg1"/>
                </a:solidFill>
                <a:latin typeface="Maiandra GD" pitchFamily="34" charset="0"/>
              </a:rPr>
              <a:t>sekalian</a:t>
            </a:r>
            <a:r>
              <a:rPr lang="en-US" sz="4400" b="1" dirty="0">
                <a:solidFill>
                  <a:schemeClr val="bg1"/>
                </a:solidFill>
                <a:latin typeface="Maiandra GD" pitchFamily="34" charset="0"/>
              </a:rPr>
              <a:t>.</a:t>
            </a:r>
            <a:br>
              <a:rPr lang="en-US" sz="4400" b="1" dirty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	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/>
            </a:r>
            <a:b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	5 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6 │ 5 6 │ 5 4 │ 3 . │▌</a:t>
            </a:r>
            <a:b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3600" b="1" dirty="0" smtClean="0">
                <a:solidFill>
                  <a:schemeClr val="bg1"/>
                </a:solidFill>
                <a:latin typeface="Maiandra GD" pitchFamily="34" charset="0"/>
              </a:rPr>
              <a:t>	A </a:t>
            </a:r>
            <a:r>
              <a:rPr lang="en-US" sz="3600" b="1" dirty="0">
                <a:solidFill>
                  <a:schemeClr val="bg1"/>
                </a:solidFill>
                <a:latin typeface="Maiandra GD" pitchFamily="34" charset="0"/>
              </a:rPr>
              <a:t>– min. A – min. A - min.</a:t>
            </a:r>
            <a:r>
              <a:rPr lang="en-US" sz="3600" b="1" dirty="0">
                <a:latin typeface="Maiandra GD" pitchFamily="34" charset="0"/>
              </a:rPr>
              <a:t/>
            </a:r>
            <a:br>
              <a:rPr lang="en-US" sz="3600" b="1" dirty="0">
                <a:latin typeface="Maiandra GD" pitchFamily="34" charset="0"/>
              </a:rPr>
            </a:b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aiandra GD" pitchFamily="34" charset="0"/>
            </a:endParaRPr>
          </a:p>
        </p:txBody>
      </p:sp>
    </p:spTree>
  </p:cSld>
  <p:clrMapOvr>
    <a:masterClrMapping/>
  </p:clrMapOvr>
  <p:transition>
    <p:checker dir="vert"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2"/>
          <p:cNvSpPr txBox="1">
            <a:spLocks noChangeArrowheads="1"/>
          </p:cNvSpPr>
          <p:nvPr/>
        </p:nvSpPr>
        <p:spPr bwMode="auto">
          <a:xfrm>
            <a:off x="3505200" y="2743200"/>
            <a:ext cx="4038600" cy="769441"/>
          </a:xfrm>
          <a:prstGeom prst="rect">
            <a:avLst/>
          </a:prstGeom>
          <a:solidFill>
            <a:schemeClr val="accent6">
              <a:alpha val="43000"/>
            </a:schemeClr>
          </a:soli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26C96">
                <a:alpha val="50000"/>
              </a:srgbClr>
            </a:prstShdw>
          </a:effectLst>
        </p:spPr>
        <p:txBody>
          <a:bodyPr wrap="square">
            <a:spAutoFit/>
          </a:bodyPr>
          <a:lstStyle/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400" b="1" kern="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  <a:ea typeface="SimSun" pitchFamily="2" charset="-122"/>
                <a:cs typeface="Calibri" pitchFamily="34" charset="0"/>
              </a:rPr>
              <a:t>SAAT  TEDUH</a:t>
            </a:r>
            <a:endParaRPr lang="en-US" sz="4000" b="1" kern="0" dirty="0">
              <a:solidFill>
                <a:srgbClr val="FFFF0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285784" y="6019800"/>
            <a:ext cx="9715568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Ibadah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Minggu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14 April </a:t>
            </a:r>
            <a:r>
              <a:rPr lang="en-US" sz="3200" b="1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2013</a:t>
            </a:r>
            <a:r>
              <a:rPr lang="en-US" sz="32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Jemaat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nar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Si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</a:t>
            </a:r>
            <a:r>
              <a:rPr lang="en-US" sz="4000" b="1" cap="none" spc="0" dirty="0" err="1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Raranon</a:t>
            </a:r>
            <a:r>
              <a:rPr lang="en-US" sz="4000" b="1" cap="none" spc="0" dirty="0" smtClean="0">
                <a:ln w="11430"/>
                <a:solidFill>
                  <a:schemeClr val="bg1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Vijaya" pitchFamily="34" charset="0"/>
                <a:cs typeface="Vijaya" pitchFamily="34" charset="0"/>
              </a:rPr>
              <a:t>  </a:t>
            </a:r>
            <a:endParaRPr lang="en-US" sz="4000" b="1" cap="none" spc="0" dirty="0">
              <a:ln w="11430"/>
              <a:solidFill>
                <a:schemeClr val="bg1"/>
              </a:soli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Vijaya" pitchFamily="34" charset="0"/>
              <a:cs typeface="Vijaya" pitchFamily="34" charset="0"/>
            </a:endParaRPr>
          </a:p>
        </p:txBody>
      </p:sp>
    </p:spTree>
  </p:cSld>
  <p:clrMapOvr>
    <a:masterClrMapping/>
  </p:clrMapOvr>
  <p:transition>
    <p:wedg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70" decel="100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" dur="770" decel="100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0" dur="77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2" dur="77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4" presetID="12" presetClass="entr" presetSubtype="2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16" dur="5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5" name="Picture 10" descr="f0076_01381.png"/>
            <p:cNvPicPr>
              <a:picLocks noChangeAspect="1"/>
            </p:cNvPicPr>
            <p:nvPr/>
          </p:nvPicPr>
          <p:blipFill>
            <a:blip r:embed="rId2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0" y="0"/>
              <a:ext cx="9144000" cy="6069330"/>
            </a:xfrm>
            <a:prstGeom prst="rect">
              <a:avLst/>
            </a:prstGeom>
            <a:noFill/>
          </p:spPr>
        </p:pic>
        <p:sp>
          <p:nvSpPr>
            <p:cNvPr id="6" name="Rectangle 5"/>
            <p:cNvSpPr/>
            <p:nvPr/>
          </p:nvSpPr>
          <p:spPr>
            <a:xfrm>
              <a:off x="0" y="5943600"/>
              <a:ext cx="9144000" cy="914400"/>
            </a:xfrm>
            <a:prstGeom prst="rect">
              <a:avLst/>
            </a:prstGeom>
            <a:gradFill>
              <a:gsLst>
                <a:gs pos="4000">
                  <a:srgbClr val="000000"/>
                </a:gs>
                <a:gs pos="20000">
                  <a:srgbClr val="000040"/>
                </a:gs>
                <a:gs pos="50000">
                  <a:srgbClr val="400040"/>
                </a:gs>
                <a:gs pos="75000">
                  <a:srgbClr val="8F0040"/>
                </a:gs>
                <a:gs pos="89999">
                  <a:srgbClr val="F27300"/>
                </a:gs>
                <a:gs pos="100000">
                  <a:srgbClr val="FFBF00">
                    <a:alpha val="45000"/>
                  </a:srgb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3074" name="Picture 2" descr="D:\file-file\dok gereja\slide backround\t0056a.jpg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-152400" y="457200"/>
            <a:ext cx="5791200" cy="5943600"/>
          </a:xfrm>
          <a:prstGeom prst="rect">
            <a:avLst/>
          </a:prstGeom>
          <a:scene3d>
            <a:camera prst="isometricOffAxis2Right">
              <a:rot lat="478162" lon="18062927" rev="42105"/>
            </a:camera>
            <a:lightRig rig="threePt" dir="t"/>
          </a:scene3d>
          <a:sp3d extrusionH="76200">
            <a:bevelB/>
            <a:extrusionClr>
              <a:srgbClr val="FF0000"/>
            </a:extrusionClr>
          </a:sp3d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 rot="20883404">
            <a:off x="-365326" y="2055182"/>
            <a:ext cx="5747038" cy="2447136"/>
          </a:xfrm>
        </p:spPr>
        <p:txBody>
          <a:bodyPr>
            <a:normAutofit fontScale="55000" lnSpcReduction="20000"/>
          </a:bodyPr>
          <a:lstStyle/>
          <a:p>
            <a:r>
              <a:rPr lang="en-US" sz="5400" dirty="0" smtClean="0">
                <a:ln w="22225" cap="rnd" cmpd="sng">
                  <a:solidFill>
                    <a:schemeClr val="bg1"/>
                  </a:solidFill>
                </a:ln>
                <a:solidFill>
                  <a:srgbClr val="00206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50800" dist="50800" dir="5400000" algn="ctr" rotWithShape="0">
                    <a:schemeClr val="tx2"/>
                  </a:outerShdw>
                </a:effectLst>
                <a:latin typeface="Tw Cen MT Condensed Extra Bold" pitchFamily="34" charset="0"/>
              </a:rPr>
              <a:t>           </a:t>
            </a:r>
            <a:r>
              <a:rPr lang="en-US" sz="11000" dirty="0" err="1" smtClean="0">
                <a:ln w="22225" cap="rnd" cmpd="sng">
                  <a:solidFill>
                    <a:schemeClr val="bg1"/>
                  </a:solidFill>
                </a:ln>
                <a:solidFill>
                  <a:srgbClr val="00206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50800" dist="50800" dir="5400000" algn="ctr" rotWithShape="0">
                    <a:schemeClr val="tx2"/>
                  </a:outerShdw>
                </a:effectLst>
                <a:latin typeface="Tw Cen MT Condensed Extra Bold" pitchFamily="34" charset="0"/>
              </a:rPr>
              <a:t>Hari</a:t>
            </a:r>
            <a:r>
              <a:rPr lang="en-US" sz="11000" dirty="0" smtClean="0">
                <a:ln w="22225" cap="rnd" cmpd="sng">
                  <a:solidFill>
                    <a:schemeClr val="bg1"/>
                  </a:solidFill>
                </a:ln>
                <a:solidFill>
                  <a:srgbClr val="00206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50800" dist="50800" dir="5400000" algn="ctr" rotWithShape="0">
                    <a:schemeClr val="tx2"/>
                  </a:outerShdw>
                </a:effectLst>
                <a:latin typeface="Tw Cen MT Condensed Extra Bold" pitchFamily="34" charset="0"/>
              </a:rPr>
              <a:t> </a:t>
            </a:r>
            <a:r>
              <a:rPr lang="en-US" sz="11000" dirty="0" err="1" smtClean="0">
                <a:ln w="22225" cap="rnd" cmpd="sng">
                  <a:solidFill>
                    <a:schemeClr val="bg1"/>
                  </a:solidFill>
                </a:ln>
                <a:solidFill>
                  <a:srgbClr val="00206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50800" dist="50800" dir="5400000" algn="ctr" rotWithShape="0">
                    <a:schemeClr val="tx2"/>
                  </a:outerShdw>
                </a:effectLst>
                <a:latin typeface="Tw Cen MT Condensed Extra Bold" pitchFamily="34" charset="0"/>
              </a:rPr>
              <a:t>Minggu</a:t>
            </a:r>
            <a:endParaRPr lang="en-US" sz="11000" dirty="0" smtClean="0">
              <a:ln w="22225" cap="rnd" cmpd="sng">
                <a:solidFill>
                  <a:schemeClr val="bg1"/>
                </a:solidFill>
              </a:ln>
              <a:solidFill>
                <a:srgbClr val="002060"/>
              </a:solidFill>
              <a:effectLst>
                <a:glow rad="101600">
                  <a:schemeClr val="bg1">
                    <a:alpha val="60000"/>
                  </a:schemeClr>
                </a:glow>
                <a:outerShdw blurRad="50800" dist="50800" dir="5400000" algn="ctr" rotWithShape="0">
                  <a:schemeClr val="tx2"/>
                </a:outerShdw>
              </a:effectLst>
              <a:latin typeface="Tw Cen MT Condensed Extra Bold" pitchFamily="34" charset="0"/>
            </a:endParaRPr>
          </a:p>
          <a:p>
            <a:r>
              <a:rPr lang="en-US" sz="11000" dirty="0" smtClean="0">
                <a:ln w="22225" cap="rnd" cmpd="sng">
                  <a:solidFill>
                    <a:schemeClr val="bg1"/>
                  </a:solidFill>
                </a:ln>
                <a:solidFill>
                  <a:srgbClr val="00206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50800" dist="50800" dir="5400000" algn="ctr" rotWithShape="0">
                    <a:schemeClr val="tx2"/>
                  </a:outerShdw>
                </a:effectLst>
                <a:latin typeface="Tw Cen MT Condensed Extra Bold" pitchFamily="34" charset="0"/>
              </a:rPr>
              <a:t>   TUHAN</a:t>
            </a:r>
          </a:p>
          <a:p>
            <a:r>
              <a:rPr lang="en-US" sz="8000" dirty="0" smtClean="0">
                <a:ln w="22225" cap="rnd" cmpd="sng">
                  <a:solidFill>
                    <a:schemeClr val="bg1"/>
                  </a:solidFill>
                </a:ln>
                <a:solidFill>
                  <a:srgbClr val="00206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50800" dist="50800" dir="5400000" algn="ctr" rotWithShape="0">
                    <a:schemeClr val="tx2"/>
                  </a:outerShdw>
                </a:effectLst>
                <a:latin typeface="Tw Cen MT Condensed Extra Bold" pitchFamily="34" charset="0"/>
              </a:rPr>
              <a:t>MEMBERKATI</a:t>
            </a:r>
          </a:p>
          <a:p>
            <a:endParaRPr lang="en-US" sz="4800" b="1" dirty="0">
              <a:solidFill>
                <a:srgbClr val="FF0000"/>
              </a:solidFill>
              <a:effectLst>
                <a:glow rad="101600">
                  <a:schemeClr val="bg1">
                    <a:alpha val="6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w Cen MT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 rot="20883037">
            <a:off x="1334915" y="-83441"/>
            <a:ext cx="2479981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400" dirty="0" smtClean="0">
                <a:ln w="22225" cap="rnd" cmpd="sng">
                  <a:solidFill>
                    <a:schemeClr val="bg1"/>
                  </a:solidFill>
                </a:ln>
                <a:solidFill>
                  <a:srgbClr val="FF000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50800" dist="50800" dir="5400000" algn="ctr" rotWithShape="0">
                    <a:schemeClr val="tx2"/>
                  </a:outerShdw>
                </a:effectLst>
                <a:latin typeface="Tw Cen MT Condensed Extra Bold" pitchFamily="34" charset="0"/>
              </a:rPr>
              <a:t> </a:t>
            </a:r>
            <a:r>
              <a:rPr lang="en-US" sz="4800" dirty="0" smtClean="0">
                <a:ln w="22225" cap="rnd" cmpd="sng">
                  <a:solidFill>
                    <a:schemeClr val="bg1"/>
                  </a:solidFill>
                </a:ln>
                <a:solidFill>
                  <a:srgbClr val="FF000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50800" dist="50800" dir="5400000" algn="ctr" rotWithShape="0">
                    <a:schemeClr val="tx2"/>
                  </a:outerShdw>
                </a:effectLst>
                <a:latin typeface="Tw Cen MT Condensed Extra Bold" pitchFamily="34" charset="0"/>
              </a:rPr>
              <a:t>     </a:t>
            </a:r>
            <a:r>
              <a:rPr lang="en-US" sz="6000" dirty="0" err="1" smtClean="0">
                <a:ln w="22225" cap="rnd" cmpd="sng">
                  <a:solidFill>
                    <a:schemeClr val="bg1"/>
                  </a:solidFill>
                </a:ln>
                <a:solidFill>
                  <a:srgbClr val="00206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50800" dist="50800" dir="5400000" algn="ctr" rotWithShape="0">
                    <a:schemeClr val="tx2"/>
                  </a:outerShdw>
                </a:effectLst>
                <a:latin typeface="Tw Cen MT Condensed Extra Bold" pitchFamily="34" charset="0"/>
              </a:rPr>
              <a:t>Selama</a:t>
            </a:r>
            <a:r>
              <a:rPr lang="en-US" sz="4800" dirty="0" err="1" smtClean="0">
                <a:ln w="22225" cap="rnd" cmpd="sng">
                  <a:solidFill>
                    <a:schemeClr val="bg1"/>
                  </a:solidFill>
                </a:ln>
                <a:solidFill>
                  <a:srgbClr val="00206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50800" dist="50800" dir="5400000" algn="ctr" rotWithShape="0">
                    <a:schemeClr val="tx2"/>
                  </a:outerShdw>
                </a:effectLst>
                <a:latin typeface="Tw Cen MT Condensed Extra Bold" pitchFamily="34" charset="0"/>
              </a:rPr>
              <a:t>t</a:t>
            </a:r>
            <a:endParaRPr lang="en-US" sz="5400" dirty="0" smtClean="0">
              <a:ln w="22225" cap="rnd" cmpd="sng">
                <a:solidFill>
                  <a:schemeClr val="bg1"/>
                </a:solidFill>
              </a:ln>
              <a:solidFill>
                <a:srgbClr val="002060"/>
              </a:solidFill>
              <a:effectLst>
                <a:glow rad="101600">
                  <a:schemeClr val="bg1">
                    <a:alpha val="60000"/>
                  </a:schemeClr>
                </a:glow>
                <a:outerShdw blurRad="50800" dist="50800" dir="5400000" algn="ctr" rotWithShape="0">
                  <a:schemeClr val="tx2"/>
                </a:outerShdw>
              </a:effectLst>
              <a:latin typeface="Tw Cen MT Condensed Extra Bold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219200" y="5715000"/>
            <a:ext cx="7329251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5400" dirty="0" smtClean="0">
                <a:ln w="22225" cap="rnd" cmpd="sng">
                  <a:solidFill>
                    <a:schemeClr val="bg1"/>
                  </a:solidFill>
                </a:ln>
                <a:solidFill>
                  <a:srgbClr val="FF0000"/>
                </a:solidFill>
                <a:effectLst>
                  <a:glow rad="101600">
                    <a:schemeClr val="bg1">
                      <a:alpha val="60000"/>
                    </a:schemeClr>
                  </a:glow>
                  <a:outerShdw blurRad="50800" dist="50800" dir="5400000" algn="ctr" rotWithShape="0">
                    <a:schemeClr val="tx2"/>
                  </a:outerShdw>
                </a:effectLst>
                <a:latin typeface="Tw Cen MT Condensed Extra Bold" pitchFamily="34" charset="0"/>
              </a:rPr>
              <a:t>GOD IS GOOD ALL THE TIME</a:t>
            </a:r>
            <a:endParaRPr lang="en-US" sz="5400" dirty="0"/>
          </a:p>
        </p:txBody>
      </p:sp>
      <p:pic>
        <p:nvPicPr>
          <p:cNvPr id="1026" name="Picture 2" descr="D:\logo collection\LOGO 2\Logo gereja\gmim cmyk.tif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677150" y="0"/>
            <a:ext cx="1466850" cy="146685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5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2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8" presetClass="entr" presetSubtype="0" accel="5000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set>
                                      <p:cBhvr>
                                        <p:cTn id="21" dur="45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o>
                                        <p:strVal val="-45.0"/>
                                      </p:to>
                                    </p:set>
                                    <p:anim calcmode="lin" valueType="num">
                                      <p:cBhvr>
                                        <p:cTn id="22" dur="455" fill="hold">
                                          <p:stCondLst>
                                            <p:cond delay="455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45"/>
                                          </p:val>
                                        </p:tav>
                                        <p:tav tm="69900">
                                          <p:val>
                                            <p:fltVal val="45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45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56" decel="50000" autoRev="1" fill="hold">
                                          <p:stCondLst>
                                            <p:cond delay="455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-#ppt_h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36" fill="hold">
                                          <p:stCondLst>
                                            <p:cond delay="864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38" presetClass="entr" presetSubtype="0" accel="5000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set>
                                      <p:cBhvr>
                                        <p:cTn id="30" dur="45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o>
                                        <p:strVal val="-45.0"/>
                                      </p:to>
                                    </p:set>
                                    <p:anim calcmode="lin" valueType="num">
                                      <p:cBhvr>
                                        <p:cTn id="31" dur="455" fill="hold">
                                          <p:stCondLst>
                                            <p:cond delay="455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45"/>
                                          </p:val>
                                        </p:tav>
                                        <p:tav tm="69900">
                                          <p:val>
                                            <p:fltVal val="45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45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56" decel="50000" autoRev="1" fill="hold">
                                          <p:stCondLst>
                                            <p:cond delay="455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-#ppt_h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36" fill="hold">
                                          <p:stCondLst>
                                            <p:cond delay="864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38" presetClass="entr" presetSubtype="0" accel="5000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set>
                                      <p:cBhvr>
                                        <p:cTn id="39" dur="45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o>
                                        <p:strVal val="-45.0"/>
                                      </p:to>
                                    </p:set>
                                    <p:anim calcmode="lin" valueType="num">
                                      <p:cBhvr>
                                        <p:cTn id="40" dur="455" fill="hold">
                                          <p:stCondLst>
                                            <p:cond delay="455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45"/>
                                          </p:val>
                                        </p:tav>
                                        <p:tav tm="69900">
                                          <p:val>
                                            <p:fltVal val="45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455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56" decel="50000" autoRev="1" fill="hold">
                                          <p:stCondLst>
                                            <p:cond delay="455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(0.354*#ppt_w-0.172*#ppt_h)-#ppt_h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36" fill="hold">
                                          <p:stCondLst>
                                            <p:cond delay="864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(0.354*#ppt_w-0.172*#ppt_h)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9" presetClass="entr" presetSubtype="1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9" presetClass="entr" presetSubtype="1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9" presetClass="entr" presetSubtype="1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45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2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2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D:\file-file\dok gereja\slide backround\gitar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11113" y="0"/>
            <a:ext cx="91551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0" y="0"/>
            <a:ext cx="9144000" cy="707886"/>
          </a:xfrm>
          <a:prstGeom prst="rect">
            <a:avLst/>
          </a:prstGeom>
          <a:solidFill>
            <a:srgbClr val="00B050">
              <a:alpha val="47000"/>
            </a:srgbClr>
          </a:solidFill>
          <a:ln w="9525" algn="ctr">
            <a:noFill/>
            <a:miter lim="800000"/>
            <a:headEnd/>
            <a:tailEnd/>
          </a:ln>
          <a:effectLst>
            <a:prstShdw prst="shdw17" dist="17961" dir="2700000">
              <a:srgbClr val="626C96">
                <a:alpha val="50000"/>
              </a:srgbClr>
            </a:prstShdw>
          </a:effectLst>
        </p:spPr>
        <p:txBody>
          <a:bodyPr wrap="square">
            <a:spAutoFit/>
          </a:bodyPr>
          <a:lstStyle/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000" b="1" kern="0" dirty="0" smtClean="0">
                <a:solidFill>
                  <a:srgbClr val="FFFF00"/>
                </a:solidFill>
              </a:rPr>
              <a:t>            </a:t>
            </a:r>
            <a:r>
              <a:rPr lang="en-US" sz="4000" b="1" kern="0" dirty="0" err="1" smtClean="0">
                <a:solidFill>
                  <a:srgbClr val="FFFF00"/>
                </a:solidFill>
              </a:rPr>
              <a:t>Kuada</a:t>
            </a:r>
            <a:r>
              <a:rPr lang="en-US" sz="4000" b="1" kern="0" dirty="0" smtClean="0">
                <a:solidFill>
                  <a:srgbClr val="FFFF00"/>
                </a:solidFill>
              </a:rPr>
              <a:t> </a:t>
            </a:r>
            <a:r>
              <a:rPr lang="en-US" sz="4000" b="1" kern="0" dirty="0" err="1" smtClean="0">
                <a:solidFill>
                  <a:srgbClr val="FFFF00"/>
                </a:solidFill>
              </a:rPr>
              <a:t>Sebagaimana</a:t>
            </a:r>
            <a:r>
              <a:rPr lang="en-US" sz="4000" b="1" kern="0" dirty="0" smtClean="0">
                <a:solidFill>
                  <a:srgbClr val="FFFF00"/>
                </a:solidFill>
              </a:rPr>
              <a:t> </a:t>
            </a:r>
            <a:r>
              <a:rPr lang="en-US" sz="4000" b="1" kern="0" dirty="0" err="1" smtClean="0">
                <a:solidFill>
                  <a:srgbClr val="FFFF00"/>
                </a:solidFill>
              </a:rPr>
              <a:t>Kuada</a:t>
            </a:r>
            <a:endParaRPr lang="en-US" sz="4000" b="1" kern="0" dirty="0">
              <a:solidFill>
                <a:srgbClr val="FFFF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057400" y="914400"/>
            <a:ext cx="7010400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  <a:t>KU ADA SEBAGAIMANA KU ADA</a:t>
            </a:r>
            <a:b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  <a:t>BERDIRI MENGHADAP TAHTA-MU BAPA</a:t>
            </a:r>
            <a:b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  <a:t>SEMUA KAR'NA ANUG'RAH-MU</a:t>
            </a:r>
            <a:b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  <a:t>YANG T'LAH S'LAMATKANKU</a:t>
            </a:r>
          </a:p>
          <a:p>
            <a: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  <a:t>KU HIDUP DALAM S'GALA KELIMPAHAN</a:t>
            </a:r>
            <a:b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  <a:t>KU LAYAK UNTUK MELAYANI TUHAN</a:t>
            </a:r>
            <a:b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  <a:t>SEMUA KAR'NA ANUG'RAH-MU</a:t>
            </a:r>
            <a:b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  <a:t>TERCURAH BAGIKU</a:t>
            </a:r>
          </a:p>
          <a:p>
            <a: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  <a:t>REFF :</a:t>
            </a:r>
            <a:b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  <a:t>BESAR ANUG'RAH-MU</a:t>
            </a:r>
            <a:b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  <a:t>BERLIMPAH KASIH-MU</a:t>
            </a:r>
            <a:b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  <a:t>SEMAKIN HARI,  S'MAKIN BERTAMBAH</a:t>
            </a:r>
            <a:b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</a:br>
            <a:r>
              <a:rPr lang="en-US" sz="2800" b="1" dirty="0" smtClean="0">
                <a:solidFill>
                  <a:schemeClr val="bg1"/>
                </a:solidFill>
                <a:latin typeface="Maiandra GD" pitchFamily="34" charset="0"/>
              </a:rPr>
              <a:t>BESAR ANUG'RAH-MU</a:t>
            </a:r>
            <a:endParaRPr lang="en-US" sz="2800" b="1" dirty="0">
              <a:solidFill>
                <a:schemeClr val="bg1"/>
              </a:solidFill>
              <a:latin typeface="Maiandra GD" pitchFamily="34" charset="0"/>
            </a:endParaRPr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2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:\file-file\dok gereja\slide backround\images (3)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49174"/>
          </a:xfrm>
          <a:prstGeom prst="rect">
            <a:avLst/>
          </a:prstGeom>
          <a:noFill/>
        </p:spPr>
      </p:pic>
      <p:sp>
        <p:nvSpPr>
          <p:cNvPr id="2" name="Content Placeholder 14"/>
          <p:cNvSpPr txBox="1">
            <a:spLocks/>
          </p:cNvSpPr>
          <p:nvPr/>
        </p:nvSpPr>
        <p:spPr>
          <a:xfrm>
            <a:off x="533400" y="1371600"/>
            <a:ext cx="8382000" cy="3962400"/>
          </a:xfrm>
          <a:prstGeom prst="rect">
            <a:avLst/>
          </a:prstGeom>
          <a:effectLst>
            <a:outerShdw blurRad="50800" dist="50800" dir="5400000" algn="ctr" rotWithShape="0">
              <a:srgbClr val="FFC000"/>
            </a:outerShdw>
          </a:effectLst>
        </p:spPr>
        <p:txBody>
          <a:bodyPr/>
          <a:lstStyle/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 :		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Jemaat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yang </a:t>
            </a:r>
            <a:r>
              <a:rPr lang="en-US" sz="4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ikasihi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UHAN,</a:t>
            </a: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		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arilah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ita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enyembah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TUHAN yang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enjadikan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ita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.</a:t>
            </a: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J 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: 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		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Sebab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ialah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Allah </a:t>
            </a:r>
            <a:r>
              <a:rPr lang="en-US" sz="4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ita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, </a:t>
            </a:r>
            <a:r>
              <a:rPr lang="en-US" sz="4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an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italah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umat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gembalaan-Nya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an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awanan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omba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untunan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angan-Nya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. (</a:t>
            </a:r>
            <a:r>
              <a:rPr lang="en-US" sz="4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zm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95:6,7a)</a:t>
            </a:r>
            <a:b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04800" y="152400"/>
            <a:ext cx="8534401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cap="none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Panggilan</a:t>
            </a:r>
            <a:r>
              <a:rPr lang="en-US" sz="54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 </a:t>
            </a:r>
            <a:r>
              <a:rPr lang="en-US" sz="5400" b="1" cap="none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untuk</a:t>
            </a:r>
            <a:r>
              <a:rPr lang="en-US" sz="54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 </a:t>
            </a:r>
            <a:r>
              <a:rPr lang="en-US" sz="5400" b="1" cap="none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Berdoa</a:t>
            </a:r>
            <a:endParaRPr lang="en-US" sz="54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  <a:latin typeface="Comic Sans MS" pitchFamily="66" charset="0"/>
            </a:endParaRPr>
          </a:p>
        </p:txBody>
      </p:sp>
      <p:sp>
        <p:nvSpPr>
          <p:cNvPr id="5" name="WordArt 6"/>
          <p:cNvSpPr>
            <a:spLocks noChangeArrowheads="1" noChangeShapeType="1" noTextEdit="1"/>
          </p:cNvSpPr>
          <p:nvPr/>
        </p:nvSpPr>
        <p:spPr bwMode="auto">
          <a:xfrm>
            <a:off x="4724400" y="5943600"/>
            <a:ext cx="3657600" cy="5334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Jemaat</a:t>
            </a:r>
            <a:r>
              <a:rPr lang="en-US" sz="213200" b="1" kern="10" spc="720" dirty="0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 </a:t>
            </a:r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berdiri</a:t>
            </a:r>
            <a:endParaRPr lang="en-US" sz="213200" b="1" kern="10" spc="720" dirty="0">
              <a:ln w="3175">
                <a:solidFill>
                  <a:srgbClr val="FF9900"/>
                </a:solidFill>
                <a:round/>
                <a:headEnd/>
                <a:tailEnd/>
              </a:ln>
              <a:solidFill>
                <a:srgbClr val="FF9900"/>
              </a:solidFill>
              <a:effectLst>
                <a:outerShdw dist="45791" dir="3378596" algn="ctr" rotWithShape="0">
                  <a:srgbClr val="4D4D4D">
                    <a:alpha val="79999"/>
                  </a:srgbClr>
                </a:outerShdw>
              </a:effectLst>
              <a:latin typeface="Maiandra GD"/>
            </a:endParaRPr>
          </a:p>
        </p:txBody>
      </p:sp>
    </p:spTree>
  </p:cSld>
  <p:clrMapOvr>
    <a:masterClrMapping/>
  </p:clrMapOvr>
  <p:transition>
    <p:cover dir="l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repeatCount="3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D:\file-file\dok gereja\slide backround\images (3)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49174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>
          <a:xfrm>
            <a:off x="304800" y="152400"/>
            <a:ext cx="8534401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Doa</a:t>
            </a:r>
            <a:r>
              <a:rPr lang="en-US" sz="5400" b="1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 </a:t>
            </a:r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Penyembahan</a:t>
            </a:r>
            <a:endParaRPr lang="en-US" sz="54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  <a:latin typeface="Comic Sans MS" pitchFamily="66" charset="0"/>
            </a:endParaRPr>
          </a:p>
        </p:txBody>
      </p:sp>
      <p:sp>
        <p:nvSpPr>
          <p:cNvPr id="6" name="Content Placeholder 14"/>
          <p:cNvSpPr txBox="1">
            <a:spLocks/>
          </p:cNvSpPr>
          <p:nvPr/>
        </p:nvSpPr>
        <p:spPr>
          <a:xfrm>
            <a:off x="533400" y="1752600"/>
            <a:ext cx="8382000" cy="3581400"/>
          </a:xfrm>
          <a:prstGeom prst="rect">
            <a:avLst/>
          </a:prstGeom>
          <a:effectLst>
            <a:outerShdw blurRad="50800" dist="50800" dir="5400000" algn="ctr" rotWithShape="0">
              <a:srgbClr val="FFC000"/>
            </a:outerShdw>
          </a:effectLst>
        </p:spPr>
        <p:txBody>
          <a:bodyPr/>
          <a:lstStyle/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 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: 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	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arilah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ita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berdoa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:</a:t>
            </a: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	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atanglah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epada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ami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ya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Allah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seperti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ami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atang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epadaMu</a:t>
            </a:r>
            <a:endParaRPr lang="en-US" sz="4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aiandra GD" pitchFamily="34" charset="0"/>
            </a:endParaRP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J 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: 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		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Engkaulah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bagi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ami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empat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erlindungan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an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ekuatan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untuk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selama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lamanya</a:t>
            </a:r>
            <a:endParaRPr lang="en-US" sz="4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aiandra GD" pitchFamily="34" charset="0"/>
            </a:endParaRP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kumimoji="0" lang="en-US" sz="4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aiandra GD" pitchFamily="34" charset="0"/>
                <a:ea typeface="+mn-ea"/>
                <a:cs typeface="+mn-cs"/>
              </a:rPr>
              <a:t>P:		……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WordArt 6"/>
          <p:cNvSpPr>
            <a:spLocks noChangeArrowheads="1" noChangeShapeType="1" noTextEdit="1"/>
          </p:cNvSpPr>
          <p:nvPr/>
        </p:nvSpPr>
        <p:spPr bwMode="auto">
          <a:xfrm>
            <a:off x="4724400" y="5943600"/>
            <a:ext cx="3657600" cy="5334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Jemaat</a:t>
            </a:r>
            <a:r>
              <a:rPr lang="en-US" sz="213200" b="1" kern="10" spc="720" dirty="0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 </a:t>
            </a:r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berdiri</a:t>
            </a:r>
            <a:endParaRPr lang="en-US" sz="213200" b="1" kern="10" spc="720" dirty="0">
              <a:ln w="3175">
                <a:solidFill>
                  <a:srgbClr val="FF9900"/>
                </a:solidFill>
                <a:round/>
                <a:headEnd/>
                <a:tailEnd/>
              </a:ln>
              <a:solidFill>
                <a:srgbClr val="FF9900"/>
              </a:solidFill>
              <a:effectLst>
                <a:outerShdw dist="45791" dir="3378596" algn="ctr" rotWithShape="0">
                  <a:srgbClr val="4D4D4D">
                    <a:alpha val="79999"/>
                  </a:srgbClr>
                </a:outerShdw>
              </a:effectLst>
              <a:latin typeface="Maiandra GD"/>
            </a:endParaRPr>
          </a:p>
        </p:txBody>
      </p:sp>
    </p:spTree>
  </p:cSld>
  <p:clrMapOvr>
    <a:masterClrMapping/>
  </p:clrMapOvr>
  <p:transition>
    <p:pull dir="l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repeatCount="3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:\file-file\dok gereja\slide backround\light-candle-in-darkness-300x225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>
          <a:xfrm>
            <a:off x="304800" y="152400"/>
            <a:ext cx="8534401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Pengakuan</a:t>
            </a:r>
            <a:r>
              <a:rPr lang="en-US" sz="5400" b="1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 </a:t>
            </a:r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Dosa</a:t>
            </a:r>
            <a:endParaRPr lang="en-US" sz="54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  <a:latin typeface="Comic Sans MS" pitchFamily="66" charset="0"/>
            </a:endParaRPr>
          </a:p>
        </p:txBody>
      </p:sp>
      <p:sp>
        <p:nvSpPr>
          <p:cNvPr id="5" name="Content Placeholder 14"/>
          <p:cNvSpPr txBox="1">
            <a:spLocks/>
          </p:cNvSpPr>
          <p:nvPr/>
        </p:nvSpPr>
        <p:spPr>
          <a:xfrm>
            <a:off x="365760" y="1143000"/>
            <a:ext cx="8458200" cy="4191000"/>
          </a:xfrm>
          <a:prstGeom prst="rect">
            <a:avLst/>
          </a:prstGeom>
          <a:effectLst>
            <a:outerShdw blurRad="50800" dist="50800" dir="5400000" algn="ctr" rotWithShape="0">
              <a:srgbClr val="FFC000"/>
            </a:outerShdw>
          </a:effectLst>
        </p:spPr>
        <p:txBody>
          <a:bodyPr/>
          <a:lstStyle/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 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: 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	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osaku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uberitahukan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epada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Allah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an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esalahanku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idaklah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usembunyikan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,</a:t>
            </a:r>
          </a:p>
          <a:p>
            <a:pPr marL="914400" lvl="0" indent="-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" algn="l"/>
              </a:tabLst>
              <a:defRPr/>
            </a:pP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J 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: 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		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Aku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berkata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: “</a:t>
            </a:r>
            <a:r>
              <a:rPr lang="en-US" sz="4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Aku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akan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engaku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epada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TUHAN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elanggaran-pelanggaranku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,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an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Engkau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engampuni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esalahan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arena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osaku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”.(</a:t>
            </a:r>
            <a:r>
              <a:rPr lang="en-US" sz="4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zm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32:5)</a:t>
            </a:r>
            <a:r>
              <a:rPr lang="en-US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sz="3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WordArt 6"/>
          <p:cNvSpPr>
            <a:spLocks noChangeArrowheads="1" noChangeShapeType="1" noTextEdit="1"/>
          </p:cNvSpPr>
          <p:nvPr/>
        </p:nvSpPr>
        <p:spPr bwMode="auto">
          <a:xfrm>
            <a:off x="4800600" y="6096000"/>
            <a:ext cx="3581400" cy="3810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Jemaat</a:t>
            </a:r>
            <a:r>
              <a:rPr lang="en-US" sz="213200" b="1" kern="10" spc="720" dirty="0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 </a:t>
            </a:r>
            <a:r>
              <a:rPr lang="en-US" sz="213200" b="1" kern="10" spc="720" dirty="0" err="1" smtClean="0">
                <a:ln w="3175">
                  <a:solidFill>
                    <a:srgbClr val="FF9900"/>
                  </a:solidFill>
                  <a:round/>
                  <a:headEnd/>
                  <a:tailEnd/>
                </a:ln>
                <a:solidFill>
                  <a:srgbClr val="FF9900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Maiandra GD"/>
              </a:rPr>
              <a:t>duduk</a:t>
            </a:r>
            <a:endParaRPr lang="en-US" sz="213200" b="1" kern="10" spc="720" dirty="0">
              <a:ln w="3175">
                <a:solidFill>
                  <a:srgbClr val="FF9900"/>
                </a:solidFill>
                <a:round/>
                <a:headEnd/>
                <a:tailEnd/>
              </a:ln>
              <a:solidFill>
                <a:srgbClr val="FF9900"/>
              </a:solidFill>
              <a:effectLst>
                <a:outerShdw dist="45791" dir="3378596" algn="ctr" rotWithShape="0">
                  <a:srgbClr val="4D4D4D">
                    <a:alpha val="79999"/>
                  </a:srgbClr>
                </a:outerShdw>
              </a:effectLst>
              <a:latin typeface="Maiandra GD"/>
            </a:endParaRPr>
          </a:p>
        </p:txBody>
      </p:sp>
    </p:spTree>
  </p:cSld>
  <p:clrMapOvr>
    <a:masterClrMapping/>
  </p:clrMapOvr>
  <p:transition>
    <p:push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repeatCount="3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D:\file-file\dok gereja\slide backround\light-candle-in-darkness-300x225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4" name="Rectangle 3"/>
          <p:cNvSpPr/>
          <p:nvPr/>
        </p:nvSpPr>
        <p:spPr>
          <a:xfrm>
            <a:off x="304800" y="152400"/>
            <a:ext cx="8534401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Pengakuan</a:t>
            </a:r>
            <a:r>
              <a:rPr lang="en-US" sz="5400" b="1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 </a:t>
            </a:r>
            <a:r>
              <a:rPr lang="en-US" sz="5400" b="1" spc="50" dirty="0" err="1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Comic Sans MS" pitchFamily="66" charset="0"/>
              </a:rPr>
              <a:t>Dosa</a:t>
            </a:r>
            <a:endParaRPr lang="en-US" sz="5400" b="1" cap="none" spc="50" dirty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accent6">
                  <a:tint val="1000"/>
                </a:schemeClr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  <a:latin typeface="Comic Sans MS" pitchFamily="66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85800" y="1066800"/>
            <a:ext cx="7467600" cy="5786199"/>
          </a:xfrm>
          <a:prstGeom prst="rect">
            <a:avLst/>
          </a:prstGeom>
          <a:effectLst>
            <a:outerShdw blurRad="50800" dist="50800" dir="5400000" algn="ctr" rotWithShape="0">
              <a:srgbClr val="FFC000"/>
            </a:outerShdw>
          </a:effectLst>
        </p:spPr>
        <p:txBody>
          <a:bodyPr wrap="square">
            <a:spAutoFit/>
          </a:bodyPr>
          <a:lstStyle/>
          <a:p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 :	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arilah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ita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engaku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osa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	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ita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: </a:t>
            </a:r>
            <a:b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</a:b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	“Allah Yang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ahakuasa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, 	yang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engan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sukarela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	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emberi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pengampunan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	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epada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setiap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orang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yang 	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menyesali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osanya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dan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	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berpaling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  </a:t>
            </a:r>
            <a:r>
              <a:rPr lang="en-US" sz="4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kepada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aiandra GD" pitchFamily="34" charset="0"/>
              </a:rPr>
              <a:t>-Mu</a:t>
            </a:r>
            <a:r>
              <a:rPr lang="en-US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</p:cSld>
  <p:clrMapOvr>
    <a:masterClrMapping/>
  </p:clrMapOvr>
  <p:transition>
    <p:push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n40lm.30KZ8dFdZOw36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n40lm.30KZ8dFdZOw36A"/>
</p:tagLst>
</file>

<file path=ppt/theme/theme1.xml><?xml version="1.0" encoding="utf-8"?>
<a:theme xmlns:a="http://schemas.openxmlformats.org/drawingml/2006/main" name="Office Theme">
  <a:themeElements>
    <a:clrScheme name="Paper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1_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_Office Them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bg1">
              <a:gamma/>
              <a:shade val="60000"/>
              <a:invGamma/>
              <a:alpha val="50000"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rgbClr val="660033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bg1">
              <a:gamma/>
              <a:shade val="60000"/>
              <a:invGamma/>
              <a:alpha val="50000"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rgbClr val="660033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1_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Office Theme">
  <a:themeElements>
    <a:clrScheme name="1_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_Office Them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bg1">
              <a:gamma/>
              <a:shade val="60000"/>
              <a:invGamma/>
              <a:alpha val="50000"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rgbClr val="660033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bg1">
              <a:gamma/>
              <a:shade val="60000"/>
              <a:invGamma/>
              <a:alpha val="50000"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rgbClr val="660033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1_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Office Theme">
  <a:themeElements>
    <a:clrScheme name="1_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_Office Them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bg1">
              <a:gamma/>
              <a:shade val="60000"/>
              <a:invGamma/>
              <a:alpha val="50000"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rgbClr val="660033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bg1">
              <a:gamma/>
              <a:shade val="60000"/>
              <a:invGamma/>
              <a:alpha val="50000"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rgbClr val="660033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1_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Office Theme">
  <a:themeElements>
    <a:clrScheme name="1_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_Office Them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bg1">
              <a:gamma/>
              <a:shade val="60000"/>
              <a:invGamma/>
              <a:alpha val="50000"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rgbClr val="660033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bg1">
              <a:gamma/>
              <a:shade val="60000"/>
              <a:invGamma/>
              <a:alpha val="50000"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rgbClr val="660033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1_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Office Theme">
  <a:themeElements>
    <a:clrScheme name="1_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_Office Them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bg1">
              <a:gamma/>
              <a:shade val="60000"/>
              <a:invGamma/>
              <a:alpha val="50000"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rgbClr val="660033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bg1">
              <a:gamma/>
              <a:shade val="60000"/>
              <a:invGamma/>
              <a:alpha val="50000"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rgbClr val="660033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1_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48</TotalTime>
  <Words>609</Words>
  <Application>Microsoft Office PowerPoint</Application>
  <PresentationFormat>On-screen Show (4:3)</PresentationFormat>
  <Paragraphs>196</Paragraphs>
  <Slides>44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44</vt:i4>
      </vt:variant>
    </vt:vector>
  </HeadingPairs>
  <TitlesOfParts>
    <vt:vector size="50" baseType="lpstr">
      <vt:lpstr>Office Theme</vt:lpstr>
      <vt:lpstr>1_Office Theme</vt:lpstr>
      <vt:lpstr>2_Office Theme</vt:lpstr>
      <vt:lpstr>3_Office Theme</vt:lpstr>
      <vt:lpstr>4_Office Theme</vt:lpstr>
      <vt:lpstr>5_Office Theme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Slide 29</vt:lpstr>
      <vt:lpstr>Slide 30</vt:lpstr>
      <vt:lpstr>Slide 31</vt:lpstr>
      <vt:lpstr>Slide 32</vt:lpstr>
      <vt:lpstr>Slide 33</vt:lpstr>
      <vt:lpstr>Slide 34</vt:lpstr>
      <vt:lpstr>Slide 35</vt:lpstr>
      <vt:lpstr>Slide 36</vt:lpstr>
      <vt:lpstr>Slide 37</vt:lpstr>
      <vt:lpstr>Slide 38</vt:lpstr>
      <vt:lpstr>Slide 39</vt:lpstr>
      <vt:lpstr>Slide 40</vt:lpstr>
      <vt:lpstr>Slide 41</vt:lpstr>
      <vt:lpstr>Slide 42</vt:lpstr>
      <vt:lpstr>Slide 43</vt:lpstr>
      <vt:lpstr>Slide 44</vt:lpstr>
    </vt:vector>
  </TitlesOfParts>
  <Company>Deftone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M</dc:creator>
  <cp:lastModifiedBy>MM</cp:lastModifiedBy>
  <cp:revision>344</cp:revision>
  <dcterms:created xsi:type="dcterms:W3CDTF">2012-01-08T19:46:50Z</dcterms:created>
  <dcterms:modified xsi:type="dcterms:W3CDTF">2013-04-13T16:37:58Z</dcterms:modified>
</cp:coreProperties>
</file>